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4.xml" ContentType="application/vnd.openxmlformats-officedocument.theme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6.xml" ContentType="application/vnd.openxmlformats-officedocument.theme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7.xml" ContentType="application/vnd.openxmlformats-officedocument.theme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13" r:id="rId1"/>
    <p:sldMasterId id="2147483951" r:id="rId2"/>
    <p:sldMasterId id="2147484037" r:id="rId3"/>
    <p:sldMasterId id="2147484091" r:id="rId4"/>
    <p:sldMasterId id="2147484153" r:id="rId5"/>
    <p:sldMasterId id="2147484216" r:id="rId6"/>
    <p:sldMasterId id="2147484228" r:id="rId7"/>
    <p:sldMasterId id="2147484231" r:id="rId8"/>
  </p:sldMasterIdLst>
  <p:notesMasterIdLst>
    <p:notesMasterId r:id="rId21"/>
  </p:notesMasterIdLst>
  <p:handoutMasterIdLst>
    <p:handoutMasterId r:id="rId22"/>
  </p:handoutMasterIdLst>
  <p:sldIdLst>
    <p:sldId id="397" r:id="rId9"/>
    <p:sldId id="399" r:id="rId10"/>
    <p:sldId id="392" r:id="rId11"/>
    <p:sldId id="398" r:id="rId12"/>
    <p:sldId id="390" r:id="rId13"/>
    <p:sldId id="391" r:id="rId14"/>
    <p:sldId id="393" r:id="rId15"/>
    <p:sldId id="385" r:id="rId16"/>
    <p:sldId id="386" r:id="rId17"/>
    <p:sldId id="306" r:id="rId18"/>
    <p:sldId id="395" r:id="rId19"/>
    <p:sldId id="396" r:id="rId20"/>
  </p:sldIdLst>
  <p:sldSz cx="10691813" cy="7559675"/>
  <p:notesSz cx="6797675" cy="9926638"/>
  <p:custDataLst>
    <p:tags r:id="rId2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81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илисов Артём Викторович" initials="ВАВ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40AD"/>
    <a:srgbClr val="F83458"/>
    <a:srgbClr val="DEE2F4"/>
    <a:srgbClr val="CBD4F5"/>
    <a:srgbClr val="FF496C"/>
    <a:srgbClr val="EBEEF9"/>
    <a:srgbClr val="E2E6F6"/>
    <a:srgbClr val="DFE5F9"/>
    <a:srgbClr val="EDF5FE"/>
    <a:srgbClr val="FEE6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58" autoAdjust="0"/>
    <p:restoredTop sz="96433" autoAdjust="0"/>
  </p:normalViewPr>
  <p:slideViewPr>
    <p:cSldViewPr snapToGrid="0">
      <p:cViewPr varScale="1">
        <p:scale>
          <a:sx n="106" d="100"/>
          <a:sy n="106" d="100"/>
        </p:scale>
        <p:origin x="-1476" y="-96"/>
      </p:cViewPr>
      <p:guideLst>
        <p:guide orient="horz" pos="2381"/>
        <p:guide pos="336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C322FD-42AE-4246-AB70-1162A314EA1A}" type="datetimeFigureOut">
              <a:rPr lang="ru-RU" smtClean="0"/>
              <a:t>18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110C44-D1E6-4D64-B6C3-8DE2D9AADA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38831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A49908-1920-482F-A6D2-BADA50BDBEE5}" type="datetimeFigureOut">
              <a:rPr lang="ru-RU" smtClean="0"/>
              <a:t>18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41425"/>
            <a:ext cx="47371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56703D-D415-4AB4-BF73-AFF4B5C7A4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746787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E46C99-A7C5-482F-9661-F6BBB29A2611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986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8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5799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693617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272615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1CEEE-8395-4293-B657-D4AF5C85FB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8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6285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56613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7226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81196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34577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91907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95041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24375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08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505350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84197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44340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5716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66439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77094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73244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6003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75945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49191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2318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90827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83952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4950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15788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10341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65243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7127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76435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82151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31125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6484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29054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32917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15715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36373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61810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256720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70981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75888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50243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99295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5349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601269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53602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88833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3099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30842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58486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23536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01430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29302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58842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85265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24564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09284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7919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47286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8878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228635"/>
      </p:ext>
    </p:extLst>
  </p:cSld>
  <p:clrMapOvr>
    <a:masterClrMapping/>
  </p:clrMapOvr>
  <p:transition spd="med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6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93456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67201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5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80253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2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0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1935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53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01806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52332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49225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5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74044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5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39297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5634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3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3" y="402483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62420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65574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95544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09844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1397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98691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98128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01989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55050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30183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71686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5342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61645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01344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54177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0024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52790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74262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38675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43427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47955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44466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12977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66389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22178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99883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6206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98023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592587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2904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32538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64913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93532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19679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25797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73244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86076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721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96438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14340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51259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29371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80226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75668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37404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43496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49609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14517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9747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4660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70237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95257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87072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71098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18663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88732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1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123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43978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74982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74044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4351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8414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42263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42535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07236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04103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2278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6574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75182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52200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47301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6606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52454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01975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00707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25593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8504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90382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75422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02441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31631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86257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6211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91701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26425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73776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73600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48194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46746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55555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78409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69542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66130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6115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33180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81714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01583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56209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77877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27016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95584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89818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25314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33248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7930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26766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14756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37745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9433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9994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51350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50165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1872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52285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689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6944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9538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19926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794144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06837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554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800656"/>
      </p:ext>
    </p:extLst>
  </p:cSld>
  <p:clrMapOvr>
    <a:masterClrMapping/>
  </p:clrMapOvr>
  <p:transition spd="med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1CEEE-8395-4293-B657-D4AF5C85FB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8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35454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36477" y="1237197"/>
            <a:ext cx="8018860" cy="263188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01842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44399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9493" y="1884670"/>
            <a:ext cx="9221689" cy="3144614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9493" y="5059034"/>
            <a:ext cx="9221689" cy="165367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593578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35062" y="2012414"/>
            <a:ext cx="4544021" cy="47965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12730" y="2012414"/>
            <a:ext cx="4544021" cy="47965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7431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97389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6455" y="402483"/>
            <a:ext cx="9221689" cy="14611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36455" y="1853171"/>
            <a:ext cx="4523138" cy="9082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36455" y="2761381"/>
            <a:ext cx="4523138" cy="40615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12730" y="1853171"/>
            <a:ext cx="4545413" cy="9082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412730" y="2761381"/>
            <a:ext cx="4545413" cy="40615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42600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3433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82242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45413" y="1088454"/>
            <a:ext cx="5412730" cy="537226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07047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545413" y="1088454"/>
            <a:ext cx="5412730" cy="537226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86399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61562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651329" y="402483"/>
            <a:ext cx="2305422" cy="64064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35062" y="402483"/>
            <a:ext cx="6782619" cy="64064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28039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28162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687924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746166" y="3191289"/>
            <a:ext cx="4715024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презентаци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2</a:t>
            </a:r>
            <a:r>
              <a:rPr lang="en-US" dirty="0" smtClean="0"/>
              <a:t>4</a:t>
            </a:r>
            <a:r>
              <a:rPr lang="ru-RU" dirty="0" smtClean="0"/>
              <a:t> пт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746166" y="4970470"/>
            <a:ext cx="4715024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673" y="525445"/>
            <a:ext cx="4198759" cy="1108331"/>
          </a:xfrm>
          <a:prstGeom prst="rect">
            <a:avLst/>
          </a:prstGeom>
        </p:spPr>
      </p:pic>
      <p:sp>
        <p:nvSpPr>
          <p:cNvPr id="22" name="Объект 2"/>
          <p:cNvSpPr>
            <a:spLocks noGrp="1"/>
          </p:cNvSpPr>
          <p:nvPr>
            <p:ph idx="13" hasCustomPrompt="1"/>
          </p:nvPr>
        </p:nvSpPr>
        <p:spPr>
          <a:xfrm>
            <a:off x="3746166" y="6875481"/>
            <a:ext cx="4715024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1273126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88375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97" r="17795"/>
          <a:stretch/>
        </p:blipFill>
        <p:spPr>
          <a:xfrm>
            <a:off x="1" y="0"/>
            <a:ext cx="6314063" cy="7559675"/>
          </a:xfrm>
          <a:prstGeom prst="rect">
            <a:avLst/>
          </a:prstGeom>
        </p:spPr>
      </p:pic>
      <p:sp>
        <p:nvSpPr>
          <p:cNvPr id="8" name="Полилиния 7"/>
          <p:cNvSpPr/>
          <p:nvPr userDrawn="1"/>
        </p:nvSpPr>
        <p:spPr>
          <a:xfrm>
            <a:off x="4548554" y="4"/>
            <a:ext cx="6143262" cy="7559674"/>
          </a:xfrm>
          <a:custGeom>
            <a:avLst/>
            <a:gdLst>
              <a:gd name="connsiteX0" fmla="*/ 286718 w 5253925"/>
              <a:gd name="connsiteY0" fmla="*/ 0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86718 w 5253925"/>
              <a:gd name="connsiteY5" fmla="*/ 0 h 6873498"/>
              <a:gd name="connsiteX0" fmla="*/ 294467 w 5253925"/>
              <a:gd name="connsiteY0" fmla="*/ 15499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94467 w 5253925"/>
              <a:gd name="connsiteY5" fmla="*/ 15499 h 6873498"/>
              <a:gd name="connsiteX0" fmla="*/ 294467 w 5253925"/>
              <a:gd name="connsiteY0" fmla="*/ 0 h 6857999"/>
              <a:gd name="connsiteX1" fmla="*/ 5114440 w 5253925"/>
              <a:gd name="connsiteY1" fmla="*/ 193728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294467 w 5253925"/>
              <a:gd name="connsiteY0" fmla="*/ 0 h 6857999"/>
              <a:gd name="connsiteX1" fmla="*/ 5253925 w 5253925"/>
              <a:gd name="connsiteY1" fmla="*/ 0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3925" h="6857999">
                <a:moveTo>
                  <a:pt x="294467" y="0"/>
                </a:moveTo>
                <a:lnTo>
                  <a:pt x="5253925" y="0"/>
                </a:lnTo>
                <a:lnTo>
                  <a:pt x="5253925" y="6857999"/>
                </a:lnTo>
                <a:lnTo>
                  <a:pt x="0" y="6857999"/>
                </a:lnTo>
                <a:lnTo>
                  <a:pt x="1108128" y="2069023"/>
                </a:lnTo>
                <a:lnTo>
                  <a:pt x="294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1" tIns="52131" rIns="104261" bIns="52131" rtlCol="0" anchor="ctr"/>
          <a:lstStyle/>
          <a:p>
            <a:pPr algn="ctr" defTabSz="1042615"/>
            <a:endParaRPr lang="ru-RU" sz="21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356269" y="1636700"/>
            <a:ext cx="4125646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презентаци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2</a:t>
            </a:r>
            <a:r>
              <a:rPr lang="en-US" dirty="0" smtClean="0"/>
              <a:t>4</a:t>
            </a:r>
            <a:r>
              <a:rPr lang="ru-RU" dirty="0" smtClean="0"/>
              <a:t> пт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356269" y="3415881"/>
            <a:ext cx="4125646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2628" y="5684849"/>
            <a:ext cx="4198759" cy="1108331"/>
          </a:xfrm>
          <a:prstGeom prst="rect">
            <a:avLst/>
          </a:prstGeom>
        </p:spPr>
      </p:pic>
      <p:sp>
        <p:nvSpPr>
          <p:cNvPr id="14" name="Объект 2"/>
          <p:cNvSpPr>
            <a:spLocks noGrp="1"/>
          </p:cNvSpPr>
          <p:nvPr>
            <p:ph idx="13" hasCustomPrompt="1"/>
          </p:nvPr>
        </p:nvSpPr>
        <p:spPr>
          <a:xfrm>
            <a:off x="6363372" y="604818"/>
            <a:ext cx="2694299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309196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356269" y="1636700"/>
            <a:ext cx="4125646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презентаци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2</a:t>
            </a:r>
            <a:r>
              <a:rPr lang="en-US" dirty="0" smtClean="0"/>
              <a:t>4</a:t>
            </a:r>
            <a:r>
              <a:rPr lang="ru-RU" dirty="0" smtClean="0"/>
              <a:t> пт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356269" y="3415881"/>
            <a:ext cx="4125646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2628" y="5684849"/>
            <a:ext cx="4198759" cy="1108331"/>
          </a:xfrm>
          <a:prstGeom prst="rect">
            <a:avLst/>
          </a:prstGeom>
        </p:spPr>
      </p:pic>
      <p:sp>
        <p:nvSpPr>
          <p:cNvPr id="9" name="Объект 2"/>
          <p:cNvSpPr>
            <a:spLocks noGrp="1"/>
          </p:cNvSpPr>
          <p:nvPr>
            <p:ph idx="13" hasCustomPrompt="1"/>
          </p:nvPr>
        </p:nvSpPr>
        <p:spPr>
          <a:xfrm>
            <a:off x="6363372" y="604818"/>
            <a:ext cx="2694299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11653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Слайд-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лилиния 5"/>
          <p:cNvSpPr/>
          <p:nvPr userDrawn="1"/>
        </p:nvSpPr>
        <p:spPr>
          <a:xfrm>
            <a:off x="-11997" y="606844"/>
            <a:ext cx="8978368" cy="6341498"/>
          </a:xfrm>
          <a:custGeom>
            <a:avLst/>
            <a:gdLst>
              <a:gd name="connsiteX0" fmla="*/ 286718 w 5253925"/>
              <a:gd name="connsiteY0" fmla="*/ 0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86718 w 5253925"/>
              <a:gd name="connsiteY5" fmla="*/ 0 h 6873498"/>
              <a:gd name="connsiteX0" fmla="*/ 294467 w 5253925"/>
              <a:gd name="connsiteY0" fmla="*/ 15499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94467 w 5253925"/>
              <a:gd name="connsiteY5" fmla="*/ 15499 h 6873498"/>
              <a:gd name="connsiteX0" fmla="*/ 294467 w 5253925"/>
              <a:gd name="connsiteY0" fmla="*/ 0 h 6857999"/>
              <a:gd name="connsiteX1" fmla="*/ 5114440 w 5253925"/>
              <a:gd name="connsiteY1" fmla="*/ 193728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294467 w 5253925"/>
              <a:gd name="connsiteY0" fmla="*/ 0 h 6857999"/>
              <a:gd name="connsiteX1" fmla="*/ 5253925 w 5253925"/>
              <a:gd name="connsiteY1" fmla="*/ 0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4207789 w 9167247"/>
              <a:gd name="connsiteY0" fmla="*/ 0 h 6857999"/>
              <a:gd name="connsiteX1" fmla="*/ 0 w 9167247"/>
              <a:gd name="connsiteY1" fmla="*/ 0 h 6857999"/>
              <a:gd name="connsiteX2" fmla="*/ 9167247 w 9167247"/>
              <a:gd name="connsiteY2" fmla="*/ 6857999 h 6857999"/>
              <a:gd name="connsiteX3" fmla="*/ 3913322 w 9167247"/>
              <a:gd name="connsiteY3" fmla="*/ 6857999 h 6857999"/>
              <a:gd name="connsiteX4" fmla="*/ 5021450 w 9167247"/>
              <a:gd name="connsiteY4" fmla="*/ 2069023 h 6857999"/>
              <a:gd name="connsiteX5" fmla="*/ 4207789 w 9167247"/>
              <a:gd name="connsiteY5" fmla="*/ 0 h 6857999"/>
              <a:gd name="connsiteX0" fmla="*/ 4207789 w 5021450"/>
              <a:gd name="connsiteY0" fmla="*/ 0 h 6873497"/>
              <a:gd name="connsiteX1" fmla="*/ 0 w 5021450"/>
              <a:gd name="connsiteY1" fmla="*/ 0 h 6873497"/>
              <a:gd name="connsiteX2" fmla="*/ 15498 w 5021450"/>
              <a:gd name="connsiteY2" fmla="*/ 6873497 h 6873497"/>
              <a:gd name="connsiteX3" fmla="*/ 3913322 w 5021450"/>
              <a:gd name="connsiteY3" fmla="*/ 6857999 h 6873497"/>
              <a:gd name="connsiteX4" fmla="*/ 5021450 w 5021450"/>
              <a:gd name="connsiteY4" fmla="*/ 2069023 h 6873497"/>
              <a:gd name="connsiteX5" fmla="*/ 4207789 w 5021450"/>
              <a:gd name="connsiteY5" fmla="*/ 0 h 6873497"/>
              <a:gd name="connsiteX0" fmla="*/ 7722556 w 8536217"/>
              <a:gd name="connsiteY0" fmla="*/ 0 h 6873497"/>
              <a:gd name="connsiteX1" fmla="*/ 0 w 8536217"/>
              <a:gd name="connsiteY1" fmla="*/ 9246 h 6873497"/>
              <a:gd name="connsiteX2" fmla="*/ 3530265 w 8536217"/>
              <a:gd name="connsiteY2" fmla="*/ 6873497 h 6873497"/>
              <a:gd name="connsiteX3" fmla="*/ 7428089 w 8536217"/>
              <a:gd name="connsiteY3" fmla="*/ 6857999 h 6873497"/>
              <a:gd name="connsiteX4" fmla="*/ 8536217 w 8536217"/>
              <a:gd name="connsiteY4" fmla="*/ 2069023 h 6873497"/>
              <a:gd name="connsiteX5" fmla="*/ 7722556 w 8536217"/>
              <a:gd name="connsiteY5" fmla="*/ 0 h 6873497"/>
              <a:gd name="connsiteX0" fmla="*/ 7722556 w 8536217"/>
              <a:gd name="connsiteY0" fmla="*/ 0 h 6864251"/>
              <a:gd name="connsiteX1" fmla="*/ 0 w 8536217"/>
              <a:gd name="connsiteY1" fmla="*/ 9246 h 6864251"/>
              <a:gd name="connsiteX2" fmla="*/ 6416 w 8536217"/>
              <a:gd name="connsiteY2" fmla="*/ 6864251 h 6864251"/>
              <a:gd name="connsiteX3" fmla="*/ 7428089 w 8536217"/>
              <a:gd name="connsiteY3" fmla="*/ 6857999 h 6864251"/>
              <a:gd name="connsiteX4" fmla="*/ 8536217 w 8536217"/>
              <a:gd name="connsiteY4" fmla="*/ 2069023 h 6864251"/>
              <a:gd name="connsiteX5" fmla="*/ 7722556 w 8536217"/>
              <a:gd name="connsiteY5" fmla="*/ 0 h 6864251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36513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45759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45759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73498"/>
              <a:gd name="connsiteX1" fmla="*/ 0 w 8536217"/>
              <a:gd name="connsiteY1" fmla="*/ 9246 h 6873498"/>
              <a:gd name="connsiteX2" fmla="*/ 15497 w 8536217"/>
              <a:gd name="connsiteY2" fmla="*/ 6873498 h 6873498"/>
              <a:gd name="connsiteX3" fmla="*/ 7428089 w 8536217"/>
              <a:gd name="connsiteY3" fmla="*/ 6857999 h 6873498"/>
              <a:gd name="connsiteX4" fmla="*/ 8536217 w 8536217"/>
              <a:gd name="connsiteY4" fmla="*/ 2069023 h 6873498"/>
              <a:gd name="connsiteX5" fmla="*/ 7722556 w 8536217"/>
              <a:gd name="connsiteY5" fmla="*/ 0 h 6873498"/>
              <a:gd name="connsiteX0" fmla="*/ 8185741 w 8999402"/>
              <a:gd name="connsiteY0" fmla="*/ 0 h 6873498"/>
              <a:gd name="connsiteX1" fmla="*/ 0 w 8999402"/>
              <a:gd name="connsiteY1" fmla="*/ 0 h 6873498"/>
              <a:gd name="connsiteX2" fmla="*/ 478682 w 8999402"/>
              <a:gd name="connsiteY2" fmla="*/ 6873498 h 6873498"/>
              <a:gd name="connsiteX3" fmla="*/ 7891274 w 8999402"/>
              <a:gd name="connsiteY3" fmla="*/ 6857999 h 6873498"/>
              <a:gd name="connsiteX4" fmla="*/ 8999402 w 8999402"/>
              <a:gd name="connsiteY4" fmla="*/ 2069023 h 6873498"/>
              <a:gd name="connsiteX5" fmla="*/ 8185741 w 8999402"/>
              <a:gd name="connsiteY5" fmla="*/ 0 h 6873498"/>
              <a:gd name="connsiteX0" fmla="*/ 8185741 w 8999402"/>
              <a:gd name="connsiteY0" fmla="*/ 0 h 6873498"/>
              <a:gd name="connsiteX1" fmla="*/ 0 w 8999402"/>
              <a:gd name="connsiteY1" fmla="*/ 0 h 6873498"/>
              <a:gd name="connsiteX2" fmla="*/ 6413 w 8999402"/>
              <a:gd name="connsiteY2" fmla="*/ 6873498 h 6873498"/>
              <a:gd name="connsiteX3" fmla="*/ 7891274 w 8999402"/>
              <a:gd name="connsiteY3" fmla="*/ 6857999 h 6873498"/>
              <a:gd name="connsiteX4" fmla="*/ 8999402 w 8999402"/>
              <a:gd name="connsiteY4" fmla="*/ 2069023 h 6873498"/>
              <a:gd name="connsiteX5" fmla="*/ 8185741 w 8999402"/>
              <a:gd name="connsiteY5" fmla="*/ 0 h 6873498"/>
              <a:gd name="connsiteX0" fmla="*/ 8185741 w 8999402"/>
              <a:gd name="connsiteY0" fmla="*/ 0 h 6864252"/>
              <a:gd name="connsiteX1" fmla="*/ 0 w 8999402"/>
              <a:gd name="connsiteY1" fmla="*/ 0 h 6864252"/>
              <a:gd name="connsiteX2" fmla="*/ 6413 w 8999402"/>
              <a:gd name="connsiteY2" fmla="*/ 6864252 h 6864252"/>
              <a:gd name="connsiteX3" fmla="*/ 7891274 w 8999402"/>
              <a:gd name="connsiteY3" fmla="*/ 6857999 h 6864252"/>
              <a:gd name="connsiteX4" fmla="*/ 8999402 w 8999402"/>
              <a:gd name="connsiteY4" fmla="*/ 2069023 h 6864252"/>
              <a:gd name="connsiteX5" fmla="*/ 8185741 w 8999402"/>
              <a:gd name="connsiteY5" fmla="*/ 0 h 6864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99402" h="6864252">
                <a:moveTo>
                  <a:pt x="8185741" y="0"/>
                </a:moveTo>
                <a:lnTo>
                  <a:pt x="0" y="0"/>
                </a:lnTo>
                <a:cubicBezTo>
                  <a:pt x="2139" y="2285002"/>
                  <a:pt x="4274" y="4579250"/>
                  <a:pt x="6413" y="6864252"/>
                </a:cubicBezTo>
                <a:lnTo>
                  <a:pt x="7891274" y="6857999"/>
                </a:lnTo>
                <a:lnTo>
                  <a:pt x="8999402" y="2069023"/>
                </a:lnTo>
                <a:lnTo>
                  <a:pt x="8185741" y="0"/>
                </a:lnTo>
                <a:close/>
              </a:path>
            </a:pathLst>
          </a:custGeom>
          <a:solidFill>
            <a:srgbClr val="000000">
              <a:alpha val="1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1" tIns="52131" rIns="104261" bIns="52131" rtlCol="0" anchor="ctr"/>
          <a:lstStyle/>
          <a:p>
            <a:pPr algn="ctr" defTabSz="1042615"/>
            <a:endParaRPr lang="ru-RU" sz="21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325182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лайд-разделитель </a:t>
            </a:r>
            <a:br>
              <a:rPr lang="ru-RU" dirty="0" smtClean="0"/>
            </a:br>
            <a:r>
              <a:rPr lang="ru-RU" dirty="0" smtClean="0"/>
              <a:t>Название раздела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br>
              <a:rPr lang="ru-RU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, 24 пт.</a:t>
            </a:r>
          </a:p>
        </p:txBody>
      </p:sp>
      <p:sp>
        <p:nvSpPr>
          <p:cNvPr id="9" name="Подзаголовок 2"/>
          <p:cNvSpPr txBox="1">
            <a:spLocks/>
          </p:cNvSpPr>
          <p:nvPr userDrawn="1"/>
        </p:nvSpPr>
        <p:spPr>
          <a:xfrm>
            <a:off x="3325182" y="6240480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B44EA-6A61-441B-9399-54A33483BC2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3325182" y="1636699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шрифт </a:t>
            </a:r>
            <a:r>
              <a:rPr lang="ru-RU" sz="1100" dirty="0" err="1" smtClean="0">
                <a:solidFill>
                  <a:schemeClr val="tx1"/>
                </a:solidFill>
              </a:rPr>
              <a:t>Arial</a:t>
            </a:r>
            <a:r>
              <a:rPr lang="ru-RU" sz="1100" dirty="0" smtClean="0">
                <a:solidFill>
                  <a:schemeClr val="tx1"/>
                </a:solidFill>
              </a:rPr>
              <a:t> 10 пт.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808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Слайд-разделитель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799276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лайд-разделитель </a:t>
            </a:r>
            <a:br>
              <a:rPr lang="ru-RU" dirty="0" smtClean="0"/>
            </a:br>
            <a:r>
              <a:rPr lang="ru-RU" dirty="0" smtClean="0"/>
              <a:t>Название раздела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br>
              <a:rPr lang="ru-RU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, 24 пт.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62032" y="6954860"/>
            <a:ext cx="2494756" cy="402483"/>
          </a:xfrm>
        </p:spPr>
        <p:txBody>
          <a:bodyPr/>
          <a:lstStyle/>
          <a:p>
            <a:fld id="{52F389DC-9E19-4EE8-A8D3-3244F47808F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79" y="5529026"/>
            <a:ext cx="4198759" cy="1108331"/>
          </a:xfrm>
          <a:prstGeom prst="rect">
            <a:avLst/>
          </a:prstGeom>
        </p:spPr>
      </p:pic>
      <p:sp>
        <p:nvSpPr>
          <p:cNvPr id="13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799276" y="1636699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шрифт </a:t>
            </a:r>
            <a:r>
              <a:rPr lang="ru-RU" sz="1100" dirty="0" err="1" smtClean="0">
                <a:solidFill>
                  <a:schemeClr val="tx1"/>
                </a:solidFill>
              </a:rPr>
              <a:t>Arial</a:t>
            </a:r>
            <a:r>
              <a:rPr lang="ru-RU" sz="1100" dirty="0" smtClean="0">
                <a:solidFill>
                  <a:schemeClr val="tx1"/>
                </a:solidFill>
              </a:rPr>
              <a:t> 10 пт.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94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Слайд-разделитель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335544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лайд-разделитель </a:t>
            </a:r>
            <a:br>
              <a:rPr lang="ru-RU" dirty="0" smtClean="0"/>
            </a:br>
            <a:r>
              <a:rPr lang="ru-RU" dirty="0" smtClean="0"/>
              <a:t>Название раздела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br>
              <a:rPr lang="ru-RU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, 24 пт.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356315" y="5837997"/>
            <a:ext cx="2494756" cy="40248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E28C9B7-77DB-42B5-AD07-0761FECA3530}" type="datetime1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18.10.2022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Подзаголовок 2"/>
          <p:cNvSpPr txBox="1">
            <a:spLocks/>
          </p:cNvSpPr>
          <p:nvPr userDrawn="1"/>
        </p:nvSpPr>
        <p:spPr>
          <a:xfrm>
            <a:off x="4335544" y="6954858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4335544" y="1716075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шрифт </a:t>
            </a:r>
            <a:r>
              <a:rPr lang="ru-RU" sz="1100" dirty="0" err="1" smtClean="0">
                <a:solidFill>
                  <a:schemeClr val="tx1"/>
                </a:solidFill>
              </a:rPr>
              <a:t>Arial</a:t>
            </a:r>
            <a:r>
              <a:rPr lang="ru-RU" sz="1100" dirty="0" smtClean="0">
                <a:solidFill>
                  <a:schemeClr val="tx1"/>
                </a:solidFill>
              </a:rPr>
              <a:t> 10 пт.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321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Название слайда, шрифт </a:t>
            </a:r>
            <a:r>
              <a:rPr lang="ru-RU" dirty="0" err="1" smtClean="0"/>
              <a:t>Arial</a:t>
            </a:r>
            <a:r>
              <a:rPr lang="ru-RU" dirty="0" smtClean="0"/>
              <a:t>, 2</a:t>
            </a:r>
            <a:r>
              <a:rPr lang="en-US" dirty="0" smtClean="0"/>
              <a:t>4</a:t>
            </a:r>
            <a:r>
              <a:rPr lang="ru-RU" dirty="0" smtClean="0"/>
              <a:t> </a:t>
            </a:r>
            <a:r>
              <a:rPr lang="ru-RU" dirty="0" err="1" smtClean="0"/>
              <a:t>пт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>
              <a:lnSpc>
                <a:spcPct val="150000"/>
              </a:lnSpc>
              <a:spcBef>
                <a:spcPts val="2053"/>
              </a:spcBef>
              <a:defRPr/>
            </a:lvl1pPr>
          </a:lstStyle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446074D7-7B97-4C60-B38F-D77E1B39E88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44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пы булитов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ипы </a:t>
            </a:r>
            <a:r>
              <a:rPr lang="ru-RU" dirty="0" err="1" smtClean="0"/>
              <a:t>булитов</a:t>
            </a:r>
            <a:endParaRPr lang="ru-RU" dirty="0" smtClean="0"/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  <a:p>
            <a:pPr lvl="3"/>
            <a:r>
              <a:rPr lang="ru-RU" dirty="0" smtClean="0"/>
              <a:t>Третий уровень</a:t>
            </a:r>
          </a:p>
          <a:p>
            <a:pPr lvl="4"/>
            <a:r>
              <a:rPr lang="ru-RU" dirty="0" smtClean="0"/>
              <a:t>Четвер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86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4"/>
            <a:ext cx="9021159" cy="873130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E7F6E1B9-6978-49A0-B769-AA0B478E90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670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2" y="1557324"/>
            <a:ext cx="3969347" cy="5000656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EFB904C4-4AB9-4D84-8905-B291CF4EBD0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744" y="1160449"/>
            <a:ext cx="5588651" cy="5684849"/>
          </a:xfrm>
          <a:prstGeom prst="rect">
            <a:avLst/>
          </a:prstGeom>
        </p:spPr>
      </p:pic>
      <p:sp>
        <p:nvSpPr>
          <p:cNvPr id="9" name="Полилиния 8"/>
          <p:cNvSpPr/>
          <p:nvPr userDrawn="1"/>
        </p:nvSpPr>
        <p:spPr>
          <a:xfrm>
            <a:off x="5237176" y="2084252"/>
            <a:ext cx="4412638" cy="3886613"/>
          </a:xfrm>
          <a:custGeom>
            <a:avLst/>
            <a:gdLst>
              <a:gd name="connsiteX0" fmla="*/ 15498 w 3773837"/>
              <a:gd name="connsiteY0" fmla="*/ 0 h 3525865"/>
              <a:gd name="connsiteX1" fmla="*/ 3332136 w 3773837"/>
              <a:gd name="connsiteY1" fmla="*/ 0 h 3525865"/>
              <a:gd name="connsiteX2" fmla="*/ 3773837 w 3773837"/>
              <a:gd name="connsiteY2" fmla="*/ 1751309 h 3525865"/>
              <a:gd name="connsiteX3" fmla="*/ 3363132 w 3773837"/>
              <a:gd name="connsiteY3" fmla="*/ 3525865 h 3525865"/>
              <a:gd name="connsiteX4" fmla="*/ 0 w 3773837"/>
              <a:gd name="connsiteY4" fmla="*/ 3525865 h 3525865"/>
              <a:gd name="connsiteX5" fmla="*/ 418454 w 3773837"/>
              <a:gd name="connsiteY5" fmla="*/ 1720312 h 3525865"/>
              <a:gd name="connsiteX6" fmla="*/ 15498 w 3773837"/>
              <a:gd name="connsiteY6" fmla="*/ 0 h 3525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3837" h="3525865">
                <a:moveTo>
                  <a:pt x="15498" y="0"/>
                </a:moveTo>
                <a:lnTo>
                  <a:pt x="3332136" y="0"/>
                </a:lnTo>
                <a:lnTo>
                  <a:pt x="3773837" y="1751309"/>
                </a:lnTo>
                <a:lnTo>
                  <a:pt x="3363132" y="3525865"/>
                </a:lnTo>
                <a:lnTo>
                  <a:pt x="0" y="3525865"/>
                </a:lnTo>
                <a:lnTo>
                  <a:pt x="418454" y="1720312"/>
                </a:lnTo>
                <a:lnTo>
                  <a:pt x="15498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1042615"/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Arial" pitchFamily="34" charset="0"/>
              </a:rPr>
              <a:t>Текст</a:t>
            </a: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85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17209395-9309-40E7-BD11-3D5233B4DE8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744" y="1160449"/>
            <a:ext cx="5588651" cy="5684849"/>
          </a:xfrm>
          <a:prstGeom prst="rect">
            <a:avLst/>
          </a:prstGeom>
        </p:spPr>
      </p:pic>
      <p:sp>
        <p:nvSpPr>
          <p:cNvPr id="14" name="Объект 13"/>
          <p:cNvSpPr>
            <a:spLocks noGrp="1"/>
          </p:cNvSpPr>
          <p:nvPr>
            <p:ph sz="quarter" idx="14" hasCustomPrompt="1"/>
          </p:nvPr>
        </p:nvSpPr>
        <p:spPr>
          <a:xfrm>
            <a:off x="5598355" y="2033415"/>
            <a:ext cx="3621481" cy="396882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6" name="Таблица 15"/>
          <p:cNvSpPr>
            <a:spLocks noGrp="1"/>
          </p:cNvSpPr>
          <p:nvPr>
            <p:ph type="tbl" sz="quarter" idx="15"/>
          </p:nvPr>
        </p:nvSpPr>
        <p:spPr>
          <a:xfrm>
            <a:off x="580999" y="1557433"/>
            <a:ext cx="4007573" cy="4920788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184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65215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0174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 фотографие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009119" y="1716078"/>
            <a:ext cx="4546630" cy="5000654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4"/>
          </p:nvPr>
        </p:nvSpPr>
        <p:spPr>
          <a:xfrm>
            <a:off x="580998" y="1716678"/>
            <a:ext cx="4209901" cy="3968829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168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158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арт-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Рисунок SmartArt 4"/>
          <p:cNvSpPr>
            <a:spLocks noGrp="1"/>
          </p:cNvSpPr>
          <p:nvPr>
            <p:ph type="dgm" sz="quarter" idx="14"/>
          </p:nvPr>
        </p:nvSpPr>
        <p:spPr>
          <a:xfrm>
            <a:off x="546686" y="1557436"/>
            <a:ext cx="9009122" cy="5239275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204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4"/>
          </p:nvPr>
        </p:nvSpPr>
        <p:spPr>
          <a:xfrm>
            <a:off x="546686" y="1557433"/>
            <a:ext cx="9009122" cy="5158778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93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Таблица 4"/>
          <p:cNvSpPr>
            <a:spLocks noGrp="1"/>
          </p:cNvSpPr>
          <p:nvPr>
            <p:ph type="tbl" sz="quarter" idx="14"/>
          </p:nvPr>
        </p:nvSpPr>
        <p:spPr>
          <a:xfrm>
            <a:off x="546686" y="1557433"/>
            <a:ext cx="9009122" cy="4920788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9627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40985" y="1477951"/>
            <a:ext cx="5220205" cy="5238781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ключительный 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5340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446067"/>
            <a:ext cx="9021159" cy="635004"/>
          </a:xfrm>
        </p:spPr>
        <p:txBody>
          <a:bodyPr anchor="t">
            <a:noAutofit/>
          </a:bodyPr>
          <a:lstStyle>
            <a:lvl1pPr>
              <a:defRPr sz="2300"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Название слайда, шрифт </a:t>
            </a:r>
            <a:r>
              <a:rPr lang="ru-RU" dirty="0" err="1"/>
              <a:t>Arial</a:t>
            </a:r>
            <a:r>
              <a:rPr lang="ru-RU" dirty="0"/>
              <a:t>, 2</a:t>
            </a:r>
            <a:r>
              <a:rPr lang="en-US" dirty="0"/>
              <a:t>0</a:t>
            </a:r>
            <a:r>
              <a:rPr lang="ru-RU" dirty="0"/>
              <a:t> </a:t>
            </a:r>
            <a:r>
              <a:rPr lang="ru-RU" dirty="0" err="1"/>
              <a:t>пт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>
              <a:lnSpc>
                <a:spcPct val="150000"/>
              </a:lnSpc>
              <a:spcBef>
                <a:spcPts val="2053"/>
              </a:spcBef>
              <a:defRPr/>
            </a:lvl1pPr>
          </a:lstStyle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39371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1886" y="2348403"/>
            <a:ext cx="9088041" cy="162043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3772" y="4283818"/>
            <a:ext cx="7484269" cy="193191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884EB-F480-43C8-B79E-40610A0F267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E6F60-8952-447D-AF85-B61727C278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4009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4474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099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6316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12203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5954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29209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1287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6939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1450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0962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1073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05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5391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1180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6179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0336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9111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4223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3205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080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54657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63025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5798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6840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1677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0552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1582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0311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558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2626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2169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5876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53589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72299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63770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96293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7697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3285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59491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2749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6497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989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55855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050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142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9757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82697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89819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8979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3326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1118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2079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8954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56904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6597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9168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45751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12631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659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48439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49236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2501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0794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040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73551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4548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17665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3072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551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0702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58769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30412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27971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54458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705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slideLayout" Target="../slideLayouts/slideLayout83.xml"/><Relationship Id="rId47" Type="http://schemas.openxmlformats.org/officeDocument/2006/relationships/slideLayout" Target="../slideLayouts/slideLayout88.xml"/><Relationship Id="rId50" Type="http://schemas.openxmlformats.org/officeDocument/2006/relationships/slideLayout" Target="../slideLayouts/slideLayout91.xml"/><Relationship Id="rId55" Type="http://schemas.openxmlformats.org/officeDocument/2006/relationships/slideLayout" Target="../slideLayouts/slideLayout96.xml"/><Relationship Id="rId63" Type="http://schemas.openxmlformats.org/officeDocument/2006/relationships/tags" Target="../tags/tag3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slideLayout" Target="../slideLayouts/slideLayout86.xml"/><Relationship Id="rId53" Type="http://schemas.openxmlformats.org/officeDocument/2006/relationships/slideLayout" Target="../slideLayouts/slideLayout94.xml"/><Relationship Id="rId58" Type="http://schemas.openxmlformats.org/officeDocument/2006/relationships/slideLayout" Target="../slideLayouts/slideLayout99.xml"/><Relationship Id="rId5" Type="http://schemas.openxmlformats.org/officeDocument/2006/relationships/slideLayout" Target="../slideLayouts/slideLayout46.xml"/><Relationship Id="rId61" Type="http://schemas.openxmlformats.org/officeDocument/2006/relationships/theme" Target="../theme/theme2.xml"/><Relationship Id="rId1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slideLayout" Target="../slideLayouts/slideLayout84.xml"/><Relationship Id="rId48" Type="http://schemas.openxmlformats.org/officeDocument/2006/relationships/slideLayout" Target="../slideLayouts/slideLayout89.xml"/><Relationship Id="rId56" Type="http://schemas.openxmlformats.org/officeDocument/2006/relationships/slideLayout" Target="../slideLayouts/slideLayout97.xml"/><Relationship Id="rId64" Type="http://schemas.openxmlformats.org/officeDocument/2006/relationships/oleObject" Target="../embeddings/oleObject2.bin"/><Relationship Id="rId8" Type="http://schemas.openxmlformats.org/officeDocument/2006/relationships/slideLayout" Target="../slideLayouts/slideLayout49.xml"/><Relationship Id="rId51" Type="http://schemas.openxmlformats.org/officeDocument/2006/relationships/slideLayout" Target="../slideLayouts/slideLayout92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slideLayout" Target="../slideLayouts/slideLayout87.xml"/><Relationship Id="rId59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Relationship Id="rId54" Type="http://schemas.openxmlformats.org/officeDocument/2006/relationships/slideLayout" Target="../slideLayouts/slideLayout95.xml"/><Relationship Id="rId62" Type="http://schemas.openxmlformats.org/officeDocument/2006/relationships/vmlDrawing" Target="../drawings/vmlDrawing2.v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49" Type="http://schemas.openxmlformats.org/officeDocument/2006/relationships/slideLayout" Target="../slideLayouts/slideLayout90.xml"/><Relationship Id="rId57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72.xml"/><Relationship Id="rId44" Type="http://schemas.openxmlformats.org/officeDocument/2006/relationships/slideLayout" Target="../slideLayouts/slideLayout85.xml"/><Relationship Id="rId52" Type="http://schemas.openxmlformats.org/officeDocument/2006/relationships/slideLayout" Target="../slideLayouts/slideLayout93.xml"/><Relationship Id="rId60" Type="http://schemas.openxmlformats.org/officeDocument/2006/relationships/slideLayout" Target="../slideLayouts/slideLayout101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9" Type="http://schemas.openxmlformats.org/officeDocument/2006/relationships/slideLayout" Target="../slideLayouts/slideLayout8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26" Type="http://schemas.openxmlformats.org/officeDocument/2006/relationships/slideLayout" Target="../slideLayouts/slideLayout127.xml"/><Relationship Id="rId39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22.xml"/><Relationship Id="rId34" Type="http://schemas.openxmlformats.org/officeDocument/2006/relationships/slideLayout" Target="../slideLayouts/slideLayout135.xml"/><Relationship Id="rId42" Type="http://schemas.openxmlformats.org/officeDocument/2006/relationships/slideLayout" Target="../slideLayouts/slideLayout143.xml"/><Relationship Id="rId47" Type="http://schemas.openxmlformats.org/officeDocument/2006/relationships/slideLayout" Target="../slideLayouts/slideLayout148.xml"/><Relationship Id="rId50" Type="http://schemas.openxmlformats.org/officeDocument/2006/relationships/slideLayout" Target="../slideLayouts/slideLayout151.xml"/><Relationship Id="rId55" Type="http://schemas.openxmlformats.org/officeDocument/2006/relationships/vmlDrawing" Target="../drawings/vmlDrawing3.v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25.xml"/><Relationship Id="rId32" Type="http://schemas.openxmlformats.org/officeDocument/2006/relationships/slideLayout" Target="../slideLayouts/slideLayout133.xml"/><Relationship Id="rId37" Type="http://schemas.openxmlformats.org/officeDocument/2006/relationships/slideLayout" Target="../slideLayouts/slideLayout138.xml"/><Relationship Id="rId40" Type="http://schemas.openxmlformats.org/officeDocument/2006/relationships/slideLayout" Target="../slideLayouts/slideLayout141.xml"/><Relationship Id="rId45" Type="http://schemas.openxmlformats.org/officeDocument/2006/relationships/slideLayout" Target="../slideLayouts/slideLayout146.xml"/><Relationship Id="rId53" Type="http://schemas.openxmlformats.org/officeDocument/2006/relationships/slideLayout" Target="../slideLayouts/slideLayout154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23.xml"/><Relationship Id="rId27" Type="http://schemas.openxmlformats.org/officeDocument/2006/relationships/slideLayout" Target="../slideLayouts/slideLayout128.xml"/><Relationship Id="rId30" Type="http://schemas.openxmlformats.org/officeDocument/2006/relationships/slideLayout" Target="../slideLayouts/slideLayout131.xml"/><Relationship Id="rId35" Type="http://schemas.openxmlformats.org/officeDocument/2006/relationships/slideLayout" Target="../slideLayouts/slideLayout136.xml"/><Relationship Id="rId43" Type="http://schemas.openxmlformats.org/officeDocument/2006/relationships/slideLayout" Target="../slideLayouts/slideLayout144.xml"/><Relationship Id="rId48" Type="http://schemas.openxmlformats.org/officeDocument/2006/relationships/slideLayout" Target="../slideLayouts/slideLayout149.xml"/><Relationship Id="rId56" Type="http://schemas.openxmlformats.org/officeDocument/2006/relationships/tags" Target="../tags/tag4.xml"/><Relationship Id="rId8" Type="http://schemas.openxmlformats.org/officeDocument/2006/relationships/slideLayout" Target="../slideLayouts/slideLayout109.xml"/><Relationship Id="rId51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34.xml"/><Relationship Id="rId38" Type="http://schemas.openxmlformats.org/officeDocument/2006/relationships/slideLayout" Target="../slideLayouts/slideLayout139.xml"/><Relationship Id="rId4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21.xml"/><Relationship Id="rId41" Type="http://schemas.openxmlformats.org/officeDocument/2006/relationships/slideLayout" Target="../slideLayouts/slideLayout142.xml"/><Relationship Id="rId54" Type="http://schemas.openxmlformats.org/officeDocument/2006/relationships/theme" Target="../theme/theme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24.xml"/><Relationship Id="rId28" Type="http://schemas.openxmlformats.org/officeDocument/2006/relationships/slideLayout" Target="../slideLayouts/slideLayout129.xml"/><Relationship Id="rId36" Type="http://schemas.openxmlformats.org/officeDocument/2006/relationships/slideLayout" Target="../slideLayouts/slideLayout137.xml"/><Relationship Id="rId49" Type="http://schemas.openxmlformats.org/officeDocument/2006/relationships/slideLayout" Target="../slideLayouts/slideLayout150.xml"/><Relationship Id="rId57" Type="http://schemas.openxmlformats.org/officeDocument/2006/relationships/oleObject" Target="../embeddings/oleObject3.bin"/><Relationship Id="rId10" Type="http://schemas.openxmlformats.org/officeDocument/2006/relationships/slideLayout" Target="../slideLayouts/slideLayout111.xml"/><Relationship Id="rId31" Type="http://schemas.openxmlformats.org/officeDocument/2006/relationships/slideLayout" Target="../slideLayouts/slideLayout132.xml"/><Relationship Id="rId44" Type="http://schemas.openxmlformats.org/officeDocument/2006/relationships/slideLayout" Target="../slideLayouts/slideLayout145.xml"/><Relationship Id="rId52" Type="http://schemas.openxmlformats.org/officeDocument/2006/relationships/slideLayout" Target="../slideLayouts/slideLayout15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7.xml"/><Relationship Id="rId18" Type="http://schemas.openxmlformats.org/officeDocument/2006/relationships/slideLayout" Target="../slideLayouts/slideLayout172.xml"/><Relationship Id="rId26" Type="http://schemas.openxmlformats.org/officeDocument/2006/relationships/slideLayout" Target="../slideLayouts/slideLayout180.xml"/><Relationship Id="rId39" Type="http://schemas.openxmlformats.org/officeDocument/2006/relationships/slideLayout" Target="../slideLayouts/slideLayout193.xml"/><Relationship Id="rId21" Type="http://schemas.openxmlformats.org/officeDocument/2006/relationships/slideLayout" Target="../slideLayouts/slideLayout175.xml"/><Relationship Id="rId34" Type="http://schemas.openxmlformats.org/officeDocument/2006/relationships/slideLayout" Target="../slideLayouts/slideLayout188.xml"/><Relationship Id="rId42" Type="http://schemas.openxmlformats.org/officeDocument/2006/relationships/slideLayout" Target="../slideLayouts/slideLayout196.xml"/><Relationship Id="rId47" Type="http://schemas.openxmlformats.org/officeDocument/2006/relationships/slideLayout" Target="../slideLayouts/slideLayout201.xml"/><Relationship Id="rId50" Type="http://schemas.openxmlformats.org/officeDocument/2006/relationships/slideLayout" Target="../slideLayouts/slideLayout204.xml"/><Relationship Id="rId55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29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65.xml"/><Relationship Id="rId24" Type="http://schemas.openxmlformats.org/officeDocument/2006/relationships/slideLayout" Target="../slideLayouts/slideLayout178.xml"/><Relationship Id="rId32" Type="http://schemas.openxmlformats.org/officeDocument/2006/relationships/slideLayout" Target="../slideLayouts/slideLayout186.xml"/><Relationship Id="rId37" Type="http://schemas.openxmlformats.org/officeDocument/2006/relationships/slideLayout" Target="../slideLayouts/slideLayout191.xml"/><Relationship Id="rId40" Type="http://schemas.openxmlformats.org/officeDocument/2006/relationships/slideLayout" Target="../slideLayouts/slideLayout194.xml"/><Relationship Id="rId45" Type="http://schemas.openxmlformats.org/officeDocument/2006/relationships/slideLayout" Target="../slideLayouts/slideLayout199.xml"/><Relationship Id="rId53" Type="http://schemas.openxmlformats.org/officeDocument/2006/relationships/slideLayout" Target="../slideLayouts/slideLayout207.xml"/><Relationship Id="rId58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159.xml"/><Relationship Id="rId61" Type="http://schemas.openxmlformats.org/officeDocument/2006/relationships/slideLayout" Target="../slideLayouts/slideLayout215.xml"/><Relationship Id="rId1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176.xml"/><Relationship Id="rId27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184.xml"/><Relationship Id="rId35" Type="http://schemas.openxmlformats.org/officeDocument/2006/relationships/slideLayout" Target="../slideLayouts/slideLayout189.xml"/><Relationship Id="rId43" Type="http://schemas.openxmlformats.org/officeDocument/2006/relationships/slideLayout" Target="../slideLayouts/slideLayout197.xml"/><Relationship Id="rId48" Type="http://schemas.openxmlformats.org/officeDocument/2006/relationships/slideLayout" Target="../slideLayouts/slideLayout202.xml"/><Relationship Id="rId56" Type="http://schemas.openxmlformats.org/officeDocument/2006/relationships/slideLayout" Target="../slideLayouts/slideLayout210.xml"/><Relationship Id="rId8" Type="http://schemas.openxmlformats.org/officeDocument/2006/relationships/slideLayout" Target="../slideLayouts/slideLayout162.xml"/><Relationship Id="rId51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79.xml"/><Relationship Id="rId33" Type="http://schemas.openxmlformats.org/officeDocument/2006/relationships/slideLayout" Target="../slideLayouts/slideLayout187.xml"/><Relationship Id="rId38" Type="http://schemas.openxmlformats.org/officeDocument/2006/relationships/slideLayout" Target="../slideLayouts/slideLayout192.xml"/><Relationship Id="rId46" Type="http://schemas.openxmlformats.org/officeDocument/2006/relationships/slideLayout" Target="../slideLayouts/slideLayout200.xml"/><Relationship Id="rId59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174.xml"/><Relationship Id="rId41" Type="http://schemas.openxmlformats.org/officeDocument/2006/relationships/slideLayout" Target="../slideLayouts/slideLayout195.xml"/><Relationship Id="rId54" Type="http://schemas.openxmlformats.org/officeDocument/2006/relationships/slideLayout" Target="../slideLayouts/slideLayout208.xml"/><Relationship Id="rId62" Type="http://schemas.openxmlformats.org/officeDocument/2006/relationships/theme" Target="../theme/theme4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77.xml"/><Relationship Id="rId28" Type="http://schemas.openxmlformats.org/officeDocument/2006/relationships/slideLayout" Target="../slideLayouts/slideLayout182.xml"/><Relationship Id="rId36" Type="http://schemas.openxmlformats.org/officeDocument/2006/relationships/slideLayout" Target="../slideLayouts/slideLayout190.xml"/><Relationship Id="rId49" Type="http://schemas.openxmlformats.org/officeDocument/2006/relationships/slideLayout" Target="../slideLayouts/slideLayout203.xml"/><Relationship Id="rId57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164.xml"/><Relationship Id="rId31" Type="http://schemas.openxmlformats.org/officeDocument/2006/relationships/slideLayout" Target="../slideLayouts/slideLayout185.xml"/><Relationship Id="rId44" Type="http://schemas.openxmlformats.org/officeDocument/2006/relationships/slideLayout" Target="../slideLayouts/slideLayout198.xml"/><Relationship Id="rId52" Type="http://schemas.openxmlformats.org/officeDocument/2006/relationships/slideLayout" Target="../slideLayouts/slideLayout206.xml"/><Relationship Id="rId60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1.xml"/><Relationship Id="rId21" Type="http://schemas.openxmlformats.org/officeDocument/2006/relationships/slideLayout" Target="../slideLayouts/slideLayout236.xml"/><Relationship Id="rId34" Type="http://schemas.openxmlformats.org/officeDocument/2006/relationships/slideLayout" Target="../slideLayouts/slideLayout249.xml"/><Relationship Id="rId42" Type="http://schemas.openxmlformats.org/officeDocument/2006/relationships/slideLayout" Target="../slideLayouts/slideLayout257.xml"/><Relationship Id="rId47" Type="http://schemas.openxmlformats.org/officeDocument/2006/relationships/slideLayout" Target="../slideLayouts/slideLayout262.xml"/><Relationship Id="rId50" Type="http://schemas.openxmlformats.org/officeDocument/2006/relationships/slideLayout" Target="../slideLayouts/slideLayout265.xml"/><Relationship Id="rId55" Type="http://schemas.openxmlformats.org/officeDocument/2006/relationships/slideLayout" Target="../slideLayouts/slideLayout270.xml"/><Relationship Id="rId63" Type="http://schemas.openxmlformats.org/officeDocument/2006/relationships/tags" Target="../tags/tag5.xml"/><Relationship Id="rId7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217.xml"/><Relationship Id="rId16" Type="http://schemas.openxmlformats.org/officeDocument/2006/relationships/slideLayout" Target="../slideLayouts/slideLayout231.xml"/><Relationship Id="rId29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26.xml"/><Relationship Id="rId24" Type="http://schemas.openxmlformats.org/officeDocument/2006/relationships/slideLayout" Target="../slideLayouts/slideLayout239.xml"/><Relationship Id="rId32" Type="http://schemas.openxmlformats.org/officeDocument/2006/relationships/slideLayout" Target="../slideLayouts/slideLayout247.xml"/><Relationship Id="rId37" Type="http://schemas.openxmlformats.org/officeDocument/2006/relationships/slideLayout" Target="../slideLayouts/slideLayout252.xml"/><Relationship Id="rId40" Type="http://schemas.openxmlformats.org/officeDocument/2006/relationships/slideLayout" Target="../slideLayouts/slideLayout255.xml"/><Relationship Id="rId45" Type="http://schemas.openxmlformats.org/officeDocument/2006/relationships/slideLayout" Target="../slideLayouts/slideLayout260.xml"/><Relationship Id="rId53" Type="http://schemas.openxmlformats.org/officeDocument/2006/relationships/slideLayout" Target="../slideLayouts/slideLayout268.xml"/><Relationship Id="rId58" Type="http://schemas.openxmlformats.org/officeDocument/2006/relationships/slideLayout" Target="../slideLayouts/slideLayout273.xml"/><Relationship Id="rId5" Type="http://schemas.openxmlformats.org/officeDocument/2006/relationships/slideLayout" Target="../slideLayouts/slideLayout220.xml"/><Relationship Id="rId61" Type="http://schemas.openxmlformats.org/officeDocument/2006/relationships/theme" Target="../theme/theme5.xml"/><Relationship Id="rId19" Type="http://schemas.openxmlformats.org/officeDocument/2006/relationships/slideLayout" Target="../slideLayouts/slideLayout234.xml"/><Relationship Id="rId14" Type="http://schemas.openxmlformats.org/officeDocument/2006/relationships/slideLayout" Target="../slideLayouts/slideLayout229.xml"/><Relationship Id="rId22" Type="http://schemas.openxmlformats.org/officeDocument/2006/relationships/slideLayout" Target="../slideLayouts/slideLayout237.xml"/><Relationship Id="rId27" Type="http://schemas.openxmlformats.org/officeDocument/2006/relationships/slideLayout" Target="../slideLayouts/slideLayout242.xml"/><Relationship Id="rId30" Type="http://schemas.openxmlformats.org/officeDocument/2006/relationships/slideLayout" Target="../slideLayouts/slideLayout245.xml"/><Relationship Id="rId35" Type="http://schemas.openxmlformats.org/officeDocument/2006/relationships/slideLayout" Target="../slideLayouts/slideLayout250.xml"/><Relationship Id="rId43" Type="http://schemas.openxmlformats.org/officeDocument/2006/relationships/slideLayout" Target="../slideLayouts/slideLayout258.xml"/><Relationship Id="rId48" Type="http://schemas.openxmlformats.org/officeDocument/2006/relationships/slideLayout" Target="../slideLayouts/slideLayout263.xml"/><Relationship Id="rId56" Type="http://schemas.openxmlformats.org/officeDocument/2006/relationships/slideLayout" Target="../slideLayouts/slideLayout271.xml"/><Relationship Id="rId64" Type="http://schemas.openxmlformats.org/officeDocument/2006/relationships/oleObject" Target="../embeddings/oleObject4.bin"/><Relationship Id="rId8" Type="http://schemas.openxmlformats.org/officeDocument/2006/relationships/slideLayout" Target="../slideLayouts/slideLayout223.xml"/><Relationship Id="rId51" Type="http://schemas.openxmlformats.org/officeDocument/2006/relationships/slideLayout" Target="../slideLayouts/slideLayout266.xml"/><Relationship Id="rId3" Type="http://schemas.openxmlformats.org/officeDocument/2006/relationships/slideLayout" Target="../slideLayouts/slideLayout218.xml"/><Relationship Id="rId12" Type="http://schemas.openxmlformats.org/officeDocument/2006/relationships/slideLayout" Target="../slideLayouts/slideLayout227.xml"/><Relationship Id="rId17" Type="http://schemas.openxmlformats.org/officeDocument/2006/relationships/slideLayout" Target="../slideLayouts/slideLayout232.xml"/><Relationship Id="rId25" Type="http://schemas.openxmlformats.org/officeDocument/2006/relationships/slideLayout" Target="../slideLayouts/slideLayout240.xml"/><Relationship Id="rId33" Type="http://schemas.openxmlformats.org/officeDocument/2006/relationships/slideLayout" Target="../slideLayouts/slideLayout248.xml"/><Relationship Id="rId38" Type="http://schemas.openxmlformats.org/officeDocument/2006/relationships/slideLayout" Target="../slideLayouts/slideLayout253.xml"/><Relationship Id="rId46" Type="http://schemas.openxmlformats.org/officeDocument/2006/relationships/slideLayout" Target="../slideLayouts/slideLayout261.xml"/><Relationship Id="rId59" Type="http://schemas.openxmlformats.org/officeDocument/2006/relationships/slideLayout" Target="../slideLayouts/slideLayout274.xml"/><Relationship Id="rId20" Type="http://schemas.openxmlformats.org/officeDocument/2006/relationships/slideLayout" Target="../slideLayouts/slideLayout235.xml"/><Relationship Id="rId41" Type="http://schemas.openxmlformats.org/officeDocument/2006/relationships/slideLayout" Target="../slideLayouts/slideLayout256.xml"/><Relationship Id="rId54" Type="http://schemas.openxmlformats.org/officeDocument/2006/relationships/slideLayout" Target="../slideLayouts/slideLayout269.xml"/><Relationship Id="rId62" Type="http://schemas.openxmlformats.org/officeDocument/2006/relationships/vmlDrawing" Target="../drawings/vmlDrawing4.v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0.xml"/><Relationship Id="rId23" Type="http://schemas.openxmlformats.org/officeDocument/2006/relationships/slideLayout" Target="../slideLayouts/slideLayout238.xml"/><Relationship Id="rId28" Type="http://schemas.openxmlformats.org/officeDocument/2006/relationships/slideLayout" Target="../slideLayouts/slideLayout243.xml"/><Relationship Id="rId36" Type="http://schemas.openxmlformats.org/officeDocument/2006/relationships/slideLayout" Target="../slideLayouts/slideLayout251.xml"/><Relationship Id="rId49" Type="http://schemas.openxmlformats.org/officeDocument/2006/relationships/slideLayout" Target="../slideLayouts/slideLayout264.xml"/><Relationship Id="rId57" Type="http://schemas.openxmlformats.org/officeDocument/2006/relationships/slideLayout" Target="../slideLayouts/slideLayout272.xml"/><Relationship Id="rId10" Type="http://schemas.openxmlformats.org/officeDocument/2006/relationships/slideLayout" Target="../slideLayouts/slideLayout225.xml"/><Relationship Id="rId31" Type="http://schemas.openxmlformats.org/officeDocument/2006/relationships/slideLayout" Target="../slideLayouts/slideLayout246.xml"/><Relationship Id="rId44" Type="http://schemas.openxmlformats.org/officeDocument/2006/relationships/slideLayout" Target="../slideLayouts/slideLayout259.xml"/><Relationship Id="rId52" Type="http://schemas.openxmlformats.org/officeDocument/2006/relationships/slideLayout" Target="../slideLayouts/slideLayout267.xml"/><Relationship Id="rId60" Type="http://schemas.openxmlformats.org/officeDocument/2006/relationships/slideLayout" Target="../slideLayouts/slideLayout275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8.xml"/><Relationship Id="rId18" Type="http://schemas.openxmlformats.org/officeDocument/2006/relationships/slideLayout" Target="../slideLayouts/slideLayout233.xml"/><Relationship Id="rId39" Type="http://schemas.openxmlformats.org/officeDocument/2006/relationships/slideLayout" Target="../slideLayouts/slideLayout2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3.xml"/><Relationship Id="rId3" Type="http://schemas.openxmlformats.org/officeDocument/2006/relationships/slideLayout" Target="../slideLayouts/slideLayout278.xml"/><Relationship Id="rId7" Type="http://schemas.openxmlformats.org/officeDocument/2006/relationships/slideLayout" Target="../slideLayouts/slideLayout28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76.xml"/><Relationship Id="rId6" Type="http://schemas.openxmlformats.org/officeDocument/2006/relationships/slideLayout" Target="../slideLayouts/slideLayout281.xml"/><Relationship Id="rId11" Type="http://schemas.openxmlformats.org/officeDocument/2006/relationships/slideLayout" Target="../slideLayouts/slideLayout286.xml"/><Relationship Id="rId5" Type="http://schemas.openxmlformats.org/officeDocument/2006/relationships/slideLayout" Target="../slideLayouts/slideLayout280.xml"/><Relationship Id="rId10" Type="http://schemas.openxmlformats.org/officeDocument/2006/relationships/slideLayout" Target="../slideLayouts/slideLayout285.xml"/><Relationship Id="rId4" Type="http://schemas.openxmlformats.org/officeDocument/2006/relationships/slideLayout" Target="../slideLayouts/slideLayout279.xml"/><Relationship Id="rId9" Type="http://schemas.openxmlformats.org/officeDocument/2006/relationships/slideLayout" Target="../slideLayouts/slideLayout28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288.xml"/><Relationship Id="rId1" Type="http://schemas.openxmlformats.org/officeDocument/2006/relationships/slideLayout" Target="../slideLayouts/slideLayout28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slideLayout" Target="../slideLayouts/slideLayout301.xml"/><Relationship Id="rId18" Type="http://schemas.openxmlformats.org/officeDocument/2006/relationships/slideLayout" Target="../slideLayouts/slideLayout306.xml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1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290.xml"/><Relationship Id="rId16" Type="http://schemas.openxmlformats.org/officeDocument/2006/relationships/slideLayout" Target="../slideLayouts/slideLayout304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5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298.xml"/><Relationship Id="rId19" Type="http://schemas.openxmlformats.org/officeDocument/2006/relationships/slideLayout" Target="../slideLayouts/slideLayout307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Relationship Id="rId14" Type="http://schemas.openxmlformats.org/officeDocument/2006/relationships/slideLayout" Target="../slideLayouts/slideLayout3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64976939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" name="Слайд think-cell" r:id="rId45" imgW="347" imgH="348" progId="TCLayout.ActiveDocument.1">
                  <p:embed/>
                </p:oleObj>
              </mc:Choice>
              <mc:Fallback>
                <p:oleObj name="Слайд think-cell" r:id="rId4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1818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30" r:id="rId12"/>
    <p:sldLayoutId id="2147483932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  <p:sldLayoutId id="2147483851" r:id="rId20"/>
    <p:sldLayoutId id="2147483852" r:id="rId21"/>
    <p:sldLayoutId id="2147483853" r:id="rId22"/>
    <p:sldLayoutId id="2147483854" r:id="rId23"/>
    <p:sldLayoutId id="2147483855" r:id="rId24"/>
    <p:sldLayoutId id="2147483856" r:id="rId25"/>
    <p:sldLayoutId id="2147483857" r:id="rId26"/>
    <p:sldLayoutId id="2147483858" r:id="rId27"/>
    <p:sldLayoutId id="2147483859" r:id="rId28"/>
    <p:sldLayoutId id="2147483860" r:id="rId29"/>
    <p:sldLayoutId id="2147483861" r:id="rId30"/>
    <p:sldLayoutId id="2147483862" r:id="rId31"/>
    <p:sldLayoutId id="2147483863" r:id="rId32"/>
    <p:sldLayoutId id="2147483864" r:id="rId33"/>
    <p:sldLayoutId id="2147483865" r:id="rId34"/>
    <p:sldLayoutId id="2147483866" r:id="rId35"/>
    <p:sldLayoutId id="2147483867" r:id="rId36"/>
    <p:sldLayoutId id="2147483868" r:id="rId37"/>
    <p:sldLayoutId id="2147483869" r:id="rId38"/>
    <p:sldLayoutId id="2147483870" r:id="rId39"/>
    <p:sldLayoutId id="2147483871" r:id="rId40"/>
    <p:sldLayoutId id="2147483872" r:id="rId41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4646216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3" name="Слайд think-cell" r:id="rId64" imgW="347" imgH="348" progId="TCLayout.ActiveDocument.1">
                  <p:embed/>
                </p:oleObj>
              </mc:Choice>
              <mc:Fallback>
                <p:oleObj name="Слайд think-cell" r:id="rId6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525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  <p:sldLayoutId id="2147483971" r:id="rId20"/>
    <p:sldLayoutId id="2147483972" r:id="rId21"/>
    <p:sldLayoutId id="2147483973" r:id="rId22"/>
    <p:sldLayoutId id="2147483974" r:id="rId23"/>
    <p:sldLayoutId id="2147483975" r:id="rId24"/>
    <p:sldLayoutId id="2147483976" r:id="rId25"/>
    <p:sldLayoutId id="2147483977" r:id="rId26"/>
    <p:sldLayoutId id="2147483978" r:id="rId27"/>
    <p:sldLayoutId id="2147483979" r:id="rId28"/>
    <p:sldLayoutId id="2147483980" r:id="rId29"/>
    <p:sldLayoutId id="2147483981" r:id="rId30"/>
    <p:sldLayoutId id="2147483982" r:id="rId31"/>
    <p:sldLayoutId id="2147483983" r:id="rId32"/>
    <p:sldLayoutId id="2147483984" r:id="rId33"/>
    <p:sldLayoutId id="2147483985" r:id="rId34"/>
    <p:sldLayoutId id="2147483986" r:id="rId35"/>
    <p:sldLayoutId id="2147483987" r:id="rId36"/>
    <p:sldLayoutId id="2147483988" r:id="rId37"/>
    <p:sldLayoutId id="2147483989" r:id="rId38"/>
    <p:sldLayoutId id="2147483990" r:id="rId39"/>
    <p:sldLayoutId id="2147483991" r:id="rId40"/>
    <p:sldLayoutId id="2147483992" r:id="rId41"/>
    <p:sldLayoutId id="2147483993" r:id="rId42"/>
    <p:sldLayoutId id="2147483994" r:id="rId43"/>
    <p:sldLayoutId id="2147483995" r:id="rId44"/>
    <p:sldLayoutId id="2147483996" r:id="rId45"/>
    <p:sldLayoutId id="2147483997" r:id="rId46"/>
    <p:sldLayoutId id="2147483998" r:id="rId47"/>
    <p:sldLayoutId id="2147483999" r:id="rId48"/>
    <p:sldLayoutId id="2147484000" r:id="rId49"/>
    <p:sldLayoutId id="2147484001" r:id="rId50"/>
    <p:sldLayoutId id="2147484002" r:id="rId51"/>
    <p:sldLayoutId id="2147484003" r:id="rId52"/>
    <p:sldLayoutId id="2147484004" r:id="rId53"/>
    <p:sldLayoutId id="2147484005" r:id="rId54"/>
    <p:sldLayoutId id="2147484006" r:id="rId55"/>
    <p:sldLayoutId id="2147484007" r:id="rId56"/>
    <p:sldLayoutId id="2147484008" r:id="rId57"/>
    <p:sldLayoutId id="2147484009" r:id="rId58"/>
    <p:sldLayoutId id="2147484010" r:id="rId59"/>
    <p:sldLayoutId id="2147484011" r:id="rId60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30315830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3" name="Слайд think-cell" r:id="rId57" imgW="347" imgH="348" progId="TCLayout.ActiveDocument.1">
                  <p:embed/>
                </p:oleObj>
              </mc:Choice>
              <mc:Fallback>
                <p:oleObj name="Слайд think-cell" r:id="rId5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574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  <p:sldLayoutId id="2147484050" r:id="rId13"/>
    <p:sldLayoutId id="2147484051" r:id="rId14"/>
    <p:sldLayoutId id="2147484052" r:id="rId15"/>
    <p:sldLayoutId id="2147484053" r:id="rId16"/>
    <p:sldLayoutId id="2147484054" r:id="rId17"/>
    <p:sldLayoutId id="2147484055" r:id="rId18"/>
    <p:sldLayoutId id="2147484056" r:id="rId19"/>
    <p:sldLayoutId id="2147484057" r:id="rId20"/>
    <p:sldLayoutId id="2147484058" r:id="rId21"/>
    <p:sldLayoutId id="2147484059" r:id="rId22"/>
    <p:sldLayoutId id="2147484060" r:id="rId23"/>
    <p:sldLayoutId id="2147484061" r:id="rId24"/>
    <p:sldLayoutId id="2147484062" r:id="rId25"/>
    <p:sldLayoutId id="2147484063" r:id="rId26"/>
    <p:sldLayoutId id="2147484064" r:id="rId27"/>
    <p:sldLayoutId id="2147484065" r:id="rId28"/>
    <p:sldLayoutId id="2147484066" r:id="rId29"/>
    <p:sldLayoutId id="2147484067" r:id="rId30"/>
    <p:sldLayoutId id="2147484068" r:id="rId31"/>
    <p:sldLayoutId id="2147484069" r:id="rId32"/>
    <p:sldLayoutId id="2147484070" r:id="rId33"/>
    <p:sldLayoutId id="2147484071" r:id="rId34"/>
    <p:sldLayoutId id="2147484072" r:id="rId35"/>
    <p:sldLayoutId id="2147484073" r:id="rId36"/>
    <p:sldLayoutId id="2147484074" r:id="rId37"/>
    <p:sldLayoutId id="2147484075" r:id="rId38"/>
    <p:sldLayoutId id="2147484076" r:id="rId39"/>
    <p:sldLayoutId id="2147484077" r:id="rId40"/>
    <p:sldLayoutId id="2147484078" r:id="rId41"/>
    <p:sldLayoutId id="2147484079" r:id="rId42"/>
    <p:sldLayoutId id="2147484080" r:id="rId43"/>
    <p:sldLayoutId id="2147484081" r:id="rId44"/>
    <p:sldLayoutId id="2147484082" r:id="rId45"/>
    <p:sldLayoutId id="2147484083" r:id="rId46"/>
    <p:sldLayoutId id="2147484084" r:id="rId47"/>
    <p:sldLayoutId id="2147484085" r:id="rId48"/>
    <p:sldLayoutId id="2147484086" r:id="rId49"/>
    <p:sldLayoutId id="2147484087" r:id="rId50"/>
    <p:sldLayoutId id="2147484088" r:id="rId51"/>
    <p:sldLayoutId id="2147484089" r:id="rId52"/>
    <p:sldLayoutId id="2147484090" r:id="rId53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2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2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3" y="7006700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090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2" r:id="rId1"/>
    <p:sldLayoutId id="2147484093" r:id="rId2"/>
    <p:sldLayoutId id="2147484094" r:id="rId3"/>
    <p:sldLayoutId id="2147484095" r:id="rId4"/>
    <p:sldLayoutId id="2147484096" r:id="rId5"/>
    <p:sldLayoutId id="2147484097" r:id="rId6"/>
    <p:sldLayoutId id="2147484098" r:id="rId7"/>
    <p:sldLayoutId id="2147484099" r:id="rId8"/>
    <p:sldLayoutId id="2147484100" r:id="rId9"/>
    <p:sldLayoutId id="2147484101" r:id="rId10"/>
    <p:sldLayoutId id="2147484102" r:id="rId11"/>
    <p:sldLayoutId id="2147484103" r:id="rId12"/>
    <p:sldLayoutId id="2147484104" r:id="rId13"/>
    <p:sldLayoutId id="2147484105" r:id="rId14"/>
    <p:sldLayoutId id="2147484106" r:id="rId15"/>
    <p:sldLayoutId id="2147484107" r:id="rId16"/>
    <p:sldLayoutId id="2147484108" r:id="rId17"/>
    <p:sldLayoutId id="2147484109" r:id="rId18"/>
    <p:sldLayoutId id="2147484110" r:id="rId19"/>
    <p:sldLayoutId id="2147484111" r:id="rId20"/>
    <p:sldLayoutId id="2147484112" r:id="rId21"/>
    <p:sldLayoutId id="2147484113" r:id="rId22"/>
    <p:sldLayoutId id="2147484114" r:id="rId23"/>
    <p:sldLayoutId id="2147484115" r:id="rId24"/>
    <p:sldLayoutId id="2147484116" r:id="rId25"/>
    <p:sldLayoutId id="2147484117" r:id="rId26"/>
    <p:sldLayoutId id="2147484118" r:id="rId27"/>
    <p:sldLayoutId id="2147484119" r:id="rId28"/>
    <p:sldLayoutId id="2147484120" r:id="rId29"/>
    <p:sldLayoutId id="2147484121" r:id="rId30"/>
    <p:sldLayoutId id="2147484122" r:id="rId31"/>
    <p:sldLayoutId id="2147484123" r:id="rId32"/>
    <p:sldLayoutId id="2147484124" r:id="rId33"/>
    <p:sldLayoutId id="2147484125" r:id="rId34"/>
    <p:sldLayoutId id="2147484126" r:id="rId35"/>
    <p:sldLayoutId id="2147484127" r:id="rId36"/>
    <p:sldLayoutId id="2147484128" r:id="rId37"/>
    <p:sldLayoutId id="2147484129" r:id="rId38"/>
    <p:sldLayoutId id="2147484130" r:id="rId39"/>
    <p:sldLayoutId id="2147484131" r:id="rId40"/>
    <p:sldLayoutId id="2147484132" r:id="rId41"/>
    <p:sldLayoutId id="2147484133" r:id="rId42"/>
    <p:sldLayoutId id="2147484134" r:id="rId43"/>
    <p:sldLayoutId id="2147484135" r:id="rId44"/>
    <p:sldLayoutId id="2147484136" r:id="rId45"/>
    <p:sldLayoutId id="2147484137" r:id="rId46"/>
    <p:sldLayoutId id="2147484138" r:id="rId47"/>
    <p:sldLayoutId id="2147484139" r:id="rId48"/>
    <p:sldLayoutId id="2147484140" r:id="rId49"/>
    <p:sldLayoutId id="2147484141" r:id="rId50"/>
    <p:sldLayoutId id="2147484142" r:id="rId51"/>
    <p:sldLayoutId id="2147484143" r:id="rId52"/>
    <p:sldLayoutId id="2147484144" r:id="rId53"/>
    <p:sldLayoutId id="2147484145" r:id="rId54"/>
    <p:sldLayoutId id="2147484146" r:id="rId55"/>
    <p:sldLayoutId id="2147484147" r:id="rId56"/>
    <p:sldLayoutId id="2147484148" r:id="rId57"/>
    <p:sldLayoutId id="2147484149" r:id="rId58"/>
    <p:sldLayoutId id="2147484150" r:id="rId59"/>
    <p:sldLayoutId id="2147484151" r:id="rId60"/>
    <p:sldLayoutId id="2147484152" r:id="rId61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348350160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3" name="Слайд think-cell" r:id="rId64" imgW="347" imgH="348" progId="TCLayout.ActiveDocument.1">
                  <p:embed/>
                </p:oleObj>
              </mc:Choice>
              <mc:Fallback>
                <p:oleObj name="Слайд think-cell" r:id="rId6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919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6" r:id="rId13"/>
    <p:sldLayoutId id="2147484167" r:id="rId14"/>
    <p:sldLayoutId id="2147484168" r:id="rId15"/>
    <p:sldLayoutId id="2147484169" r:id="rId16"/>
    <p:sldLayoutId id="2147484170" r:id="rId17"/>
    <p:sldLayoutId id="2147484171" r:id="rId18"/>
    <p:sldLayoutId id="2147484172" r:id="rId19"/>
    <p:sldLayoutId id="2147484173" r:id="rId20"/>
    <p:sldLayoutId id="2147484174" r:id="rId21"/>
    <p:sldLayoutId id="2147484175" r:id="rId22"/>
    <p:sldLayoutId id="2147484176" r:id="rId23"/>
    <p:sldLayoutId id="2147484177" r:id="rId24"/>
    <p:sldLayoutId id="2147484178" r:id="rId25"/>
    <p:sldLayoutId id="2147484179" r:id="rId26"/>
    <p:sldLayoutId id="2147484180" r:id="rId27"/>
    <p:sldLayoutId id="2147484181" r:id="rId28"/>
    <p:sldLayoutId id="2147484182" r:id="rId29"/>
    <p:sldLayoutId id="2147484183" r:id="rId30"/>
    <p:sldLayoutId id="2147484184" r:id="rId31"/>
    <p:sldLayoutId id="2147484185" r:id="rId32"/>
    <p:sldLayoutId id="2147484186" r:id="rId33"/>
    <p:sldLayoutId id="2147484187" r:id="rId34"/>
    <p:sldLayoutId id="2147484188" r:id="rId35"/>
    <p:sldLayoutId id="2147484189" r:id="rId36"/>
    <p:sldLayoutId id="2147484190" r:id="rId37"/>
    <p:sldLayoutId id="2147484191" r:id="rId38"/>
    <p:sldLayoutId id="2147484192" r:id="rId39"/>
    <p:sldLayoutId id="2147484193" r:id="rId40"/>
    <p:sldLayoutId id="2147484194" r:id="rId41"/>
    <p:sldLayoutId id="2147484195" r:id="rId42"/>
    <p:sldLayoutId id="2147484196" r:id="rId43"/>
    <p:sldLayoutId id="2147484197" r:id="rId44"/>
    <p:sldLayoutId id="2147484198" r:id="rId45"/>
    <p:sldLayoutId id="2147484199" r:id="rId46"/>
    <p:sldLayoutId id="2147484200" r:id="rId47"/>
    <p:sldLayoutId id="2147484201" r:id="rId48"/>
    <p:sldLayoutId id="2147484202" r:id="rId49"/>
    <p:sldLayoutId id="2147484203" r:id="rId50"/>
    <p:sldLayoutId id="2147484204" r:id="rId51"/>
    <p:sldLayoutId id="2147484205" r:id="rId52"/>
    <p:sldLayoutId id="2147484206" r:id="rId53"/>
    <p:sldLayoutId id="2147484207" r:id="rId54"/>
    <p:sldLayoutId id="2147484208" r:id="rId55"/>
    <p:sldLayoutId id="2147484209" r:id="rId56"/>
    <p:sldLayoutId id="2147484210" r:id="rId57"/>
    <p:sldLayoutId id="2147484211" r:id="rId58"/>
    <p:sldLayoutId id="2147484212" r:id="rId59"/>
    <p:sldLayoutId id="2147484213" r:id="rId60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5062" y="402483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35062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735062" y="7006699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014F08-5BCC-4355-8CCE-B4D3D390F7C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541663" y="7006699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551093" y="7006699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296A3D-D048-4F35-9F04-DA826D7A4EF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709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707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591" y="302737"/>
            <a:ext cx="9622632" cy="125994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591" y="1763927"/>
            <a:ext cx="9622632" cy="49890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  <a:p>
            <a:pPr lvl="3"/>
            <a:r>
              <a:rPr lang="ru-RU" dirty="0" smtClean="0"/>
              <a:t>Третий уровень</a:t>
            </a:r>
          </a:p>
          <a:p>
            <a:pPr lvl="4"/>
            <a:r>
              <a:rPr lang="ru-RU" dirty="0" smtClean="0"/>
              <a:t>Четвер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591" y="7006701"/>
            <a:ext cx="2494756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fld id="{46C04923-972A-48A5-9797-2231EA842F5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042615"/>
              <a:t>18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036" y="7006701"/>
            <a:ext cx="3385741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2466" y="7006701"/>
            <a:ext cx="2494756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fld id="{F0C3E1D0-B99E-411B-BCE4-D3E6DB7EA49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04261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165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2" r:id="rId1"/>
    <p:sldLayoutId id="2147484233" r:id="rId2"/>
    <p:sldLayoutId id="2147484234" r:id="rId3"/>
    <p:sldLayoutId id="2147484235" r:id="rId4"/>
    <p:sldLayoutId id="2147484236" r:id="rId5"/>
    <p:sldLayoutId id="2147484237" r:id="rId6"/>
    <p:sldLayoutId id="2147484238" r:id="rId7"/>
    <p:sldLayoutId id="2147484239" r:id="rId8"/>
    <p:sldLayoutId id="2147484240" r:id="rId9"/>
    <p:sldLayoutId id="2147484241" r:id="rId10"/>
    <p:sldLayoutId id="2147484242" r:id="rId11"/>
    <p:sldLayoutId id="2147484243" r:id="rId12"/>
    <p:sldLayoutId id="2147484244" r:id="rId13"/>
    <p:sldLayoutId id="2147484245" r:id="rId14"/>
    <p:sldLayoutId id="2147484246" r:id="rId15"/>
    <p:sldLayoutId id="2147484247" r:id="rId16"/>
    <p:sldLayoutId id="2147484248" r:id="rId17"/>
    <p:sldLayoutId id="2147484249" r:id="rId18"/>
    <p:sldLayoutId id="2147484250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2615" rtl="0" eaLnBrk="1" latinLnBrk="0" hangingPunct="1">
        <a:spcBef>
          <a:spcPct val="0"/>
        </a:spcBef>
        <a:buNone/>
        <a:defRPr sz="2700" kern="1200">
          <a:solidFill>
            <a:schemeClr val="tx1">
              <a:lumMod val="65000"/>
              <a:lumOff val="35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042615" rtl="0" eaLnBrk="1" latinLnBrk="0" hangingPunct="1">
        <a:spcBef>
          <a:spcPct val="20000"/>
        </a:spcBef>
        <a:buClrTx/>
        <a:buSzPct val="80000"/>
        <a:buFont typeface="Arial" pitchFamily="34" charset="0"/>
        <a:buNone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847126" indent="-325818" algn="l" defTabSz="1042615" rtl="0" eaLnBrk="1" latinLnBrk="0" hangingPunct="1">
        <a:spcBef>
          <a:spcPct val="20000"/>
        </a:spcBef>
        <a:buClrTx/>
        <a:buSzPct val="80000"/>
        <a:buFont typeface="Arial" pitchFamily="34" charset="0"/>
        <a:buChar char="►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1303270" indent="-260653" algn="l" defTabSz="1042615" rtl="0" eaLnBrk="1" latinLnBrk="0" hangingPunct="1">
        <a:spcBef>
          <a:spcPct val="20000"/>
        </a:spcBef>
        <a:buFont typeface="Arial" pitchFamily="34" charset="0"/>
        <a:buChar char="―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824576" indent="-260653" algn="l" defTabSz="1042615" rtl="0" eaLnBrk="1" latinLnBrk="0" hangingPunct="1">
        <a:spcBef>
          <a:spcPct val="20000"/>
        </a:spcBef>
        <a:buFont typeface="Arial" pitchFamily="34" charset="0"/>
        <a:buChar char="&gt;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2345885" indent="-260653" algn="l" defTabSz="1042615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2867192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500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9807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115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09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615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923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231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537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7846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154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462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2.xml"/><Relationship Id="rId5" Type="http://schemas.openxmlformats.org/officeDocument/2006/relationships/image" Target="../media/image17.gif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88.xml"/><Relationship Id="rId4" Type="http://schemas.openxmlformats.org/officeDocument/2006/relationships/hyperlink" Target="mailto:msbsupport@mspbank.ru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5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7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7.xml"/><Relationship Id="rId4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Инструменты финансовой поддержки </a:t>
            </a:r>
            <a:r>
              <a:rPr lang="ru-RU" dirty="0" smtClean="0"/>
              <a:t>субъектов </a:t>
            </a:r>
            <a:r>
              <a:rPr lang="ru-RU" dirty="0"/>
              <a:t>МСП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АО </a:t>
            </a:r>
            <a:r>
              <a:rPr lang="ru-RU" dirty="0"/>
              <a:t>«МСП Банк»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8197057" y="7034701"/>
            <a:ext cx="2494756" cy="402483"/>
          </a:xfrm>
        </p:spPr>
        <p:txBody>
          <a:bodyPr/>
          <a:lstStyle/>
          <a:p>
            <a:fld id="{F0C3E1D0-B99E-411B-BCE4-D3E6DB7EA49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581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662812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Гарантийная поддержка</a:t>
            </a:r>
          </a:p>
          <a:p>
            <a:pPr fontAlgn="auto">
              <a:spcAft>
                <a:spcPts val="0"/>
              </a:spcAft>
            </a:pP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гарантии в рамках федеральных законов №44-ФЗ и №223-ФЗ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934791" y="6995531"/>
            <a:ext cx="1868757" cy="159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313859" y="2967810"/>
            <a:ext cx="35770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Автоматизированная система  выдачи электронных банковских гарантий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313859" y="3771658"/>
            <a:ext cx="35770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Оформление через интернет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313860" y="2163964"/>
            <a:ext cx="37056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Сокращенные сроки рассмотрения заявок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313860" y="5010019"/>
            <a:ext cx="31352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Открытие расчетного счета </a:t>
            </a:r>
            <a:br>
              <a:rPr lang="ru-RU" sz="1200" b="1" dirty="0">
                <a:latin typeface="Century Gothic" panose="020B0502020202020204" pitchFamily="34" charset="0"/>
              </a:rPr>
            </a:br>
            <a:r>
              <a:rPr lang="ru-RU" sz="1200" b="1" dirty="0">
                <a:latin typeface="Century Gothic" panose="020B0502020202020204" pitchFamily="34" charset="0"/>
              </a:rPr>
              <a:t>не требуется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313859" y="5813865"/>
            <a:ext cx="32389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Предварительное решение </a:t>
            </a:r>
            <a:br>
              <a:rPr lang="ru-RU" sz="1200" b="1" dirty="0">
                <a:latin typeface="Century Gothic" panose="020B0502020202020204" pitchFamily="34" charset="0"/>
              </a:rPr>
            </a:br>
            <a:r>
              <a:rPr lang="ru-RU" sz="1200" b="1" dirty="0">
                <a:latin typeface="Century Gothic" panose="020B0502020202020204" pitchFamily="34" charset="0"/>
              </a:rPr>
              <a:t>по 2 документам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313860" y="4390838"/>
            <a:ext cx="35982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До 10 млн рублей — без обеспечения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485308" y="1361720"/>
            <a:ext cx="40955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F9345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ры поддержки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162887" y="2146418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5665696" y="2057683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мл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н</a:t>
            </a:r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рублей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4162888" y="3013029"/>
            <a:ext cx="1431090" cy="46166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ассмотрения 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5593976" y="2751420"/>
            <a:ext cx="4688542" cy="98488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pPr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гарантия до 5 млн рублей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  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4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часов</a:t>
            </a:r>
          </a:p>
          <a:p>
            <a:pPr lvl="0"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арантия от </a:t>
            </a:r>
            <a:r>
              <a:rPr lang="en-US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 до 100 млн рублей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рабочих дней</a:t>
            </a:r>
          </a:p>
          <a:p>
            <a:pPr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100 млн до </a:t>
            </a:r>
            <a:r>
              <a:rPr lang="en-US" sz="1200" u="sng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u="sng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</a:t>
            </a: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</a:t>
            </a:r>
            <a:r>
              <a:rPr lang="ru-RU" sz="1200" u="sng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лей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рабочих дней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4162887" y="4997205"/>
            <a:ext cx="105710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оимость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5593977" y="4400107"/>
            <a:ext cx="5107813" cy="1138773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pPr defTabSz="1150702">
              <a:spcAft>
                <a:spcPts val="1200"/>
              </a:spcAft>
              <a:buClr>
                <a:srgbClr val="ED1B34"/>
              </a:buClr>
            </a:pPr>
            <a:r>
              <a:rPr lang="ru-RU" sz="1200" u="sng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5 млн рублей включительно для </a:t>
            </a:r>
            <a:r>
              <a:rPr lang="ru-RU" sz="1200" u="sng" dirty="0" err="1">
                <a:latin typeface="Century Gothic" panose="020B0502020202020204" pitchFamily="34" charset="0"/>
                <a:cs typeface="Helvetica" panose="020B0604020202020204" pitchFamily="34" charset="0"/>
              </a:rPr>
              <a:t>самозанятых</a:t>
            </a: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—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%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годовых</a:t>
            </a:r>
          </a:p>
          <a:p>
            <a:pPr defTabSz="1150702">
              <a:spcAft>
                <a:spcPts val="1200"/>
              </a:spcAft>
              <a:buClr>
                <a:srgbClr val="ED1B34"/>
              </a:buClr>
            </a:pPr>
            <a:r>
              <a:rPr lang="ru-RU" sz="1200" u="sng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50 млн рублей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— 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,7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годовых, но не менее 999 </a:t>
            </a:r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рублей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defTabSz="1150702">
              <a:spcAft>
                <a:spcPts val="1200"/>
              </a:spcAft>
              <a:buClr>
                <a:srgbClr val="ED1B34"/>
              </a:buClr>
            </a:pP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от 50 млн до </a:t>
            </a:r>
            <a:r>
              <a:rPr lang="en-US" sz="1200" u="sng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u="sng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млн </a:t>
            </a: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рублей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— 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%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en-US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3%</a:t>
            </a:r>
            <a:r>
              <a:rPr lang="en-US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4019550" y="2284917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183457"/>
            <a:ext cx="1658535" cy="356807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гарантии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pic>
        <p:nvPicPr>
          <p:cNvPr id="24" name="Picture 2">
            <a:extLst>
              <a:ext uri="{FF2B5EF4-FFF2-40B4-BE49-F238E27FC236}">
                <a16:creationId xmlns="" xmlns:a16="http://schemas.microsoft.com/office/drawing/2014/main" id="{6ACE6C47-3C6E-ED47-B9DD-1643EA6BB5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7969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0" y="857815"/>
            <a:ext cx="10570419" cy="5421188"/>
            <a:chOff x="760897" y="854949"/>
            <a:chExt cx="11726206" cy="4918003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760897" y="854949"/>
              <a:ext cx="11726206" cy="4918003"/>
              <a:chOff x="760897" y="983233"/>
              <a:chExt cx="11726206" cy="4918003"/>
            </a:xfrm>
          </p:grpSpPr>
          <p:pic>
            <p:nvPicPr>
              <p:cNvPr id="23" name="Picture 3"/>
              <p:cNvPicPr>
                <a:picLocks noChangeAspect="1" noChangeArrowheads="1"/>
              </p:cNvPicPr>
              <p:nvPr/>
            </p:nvPicPr>
            <p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8798" t="10288" r="18256" b="39868"/>
              <a:stretch/>
            </p:blipFill>
            <p:spPr bwMode="auto">
              <a:xfrm>
                <a:off x="760897" y="983233"/>
                <a:ext cx="11726206" cy="49180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" name="Прямоугольник 1"/>
              <p:cNvSpPr/>
              <p:nvPr/>
            </p:nvSpPr>
            <p:spPr>
              <a:xfrm>
                <a:off x="10559132" y="991072"/>
                <a:ext cx="1000125" cy="16478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6" name="Прямоугольник 25"/>
              <p:cNvSpPr/>
              <p:nvPr/>
            </p:nvSpPr>
            <p:spPr>
              <a:xfrm>
                <a:off x="10894575" y="4818704"/>
                <a:ext cx="436648" cy="101618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" name="Прямоугольник 6"/>
            <p:cNvSpPr/>
            <p:nvPr/>
          </p:nvSpPr>
          <p:spPr>
            <a:xfrm>
              <a:off x="760897" y="930827"/>
              <a:ext cx="10456068" cy="8217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78" b="2735"/>
          <a:stretch/>
        </p:blipFill>
        <p:spPr bwMode="auto">
          <a:xfrm>
            <a:off x="8874650" y="6417096"/>
            <a:ext cx="831293" cy="1031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0" y="1969"/>
            <a:ext cx="10686244" cy="793253"/>
          </a:xfrm>
          <a:prstGeom prst="rect">
            <a:avLst/>
          </a:prstGeom>
          <a:solidFill>
            <a:srgbClr val="4B91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>
              <a:solidFill>
                <a:prstClr val="white"/>
              </a:solidFill>
            </a:endParaRPr>
          </a:p>
        </p:txBody>
      </p:sp>
      <p:grpSp>
        <p:nvGrpSpPr>
          <p:cNvPr id="20" name="Группа 19"/>
          <p:cNvGrpSpPr>
            <a:grpSpLocks noChangeAspect="1"/>
          </p:cNvGrpSpPr>
          <p:nvPr/>
        </p:nvGrpSpPr>
        <p:grpSpPr>
          <a:xfrm>
            <a:off x="9197911" y="231593"/>
            <a:ext cx="1262155" cy="334001"/>
            <a:chOff x="471310" y="-27283"/>
            <a:chExt cx="2892336" cy="608913"/>
          </a:xfrm>
        </p:grpSpPr>
        <p:grpSp>
          <p:nvGrpSpPr>
            <p:cNvPr id="21" name="Группа 20">
              <a:extLst>
                <a:ext uri="{FF2B5EF4-FFF2-40B4-BE49-F238E27FC236}">
                  <a16:creationId xmlns="" xmlns:a16="http://schemas.microsoft.com/office/drawing/2014/main" id="{D2F09074-7E25-47FF-BFB3-5077D58EBFAB}"/>
                </a:ext>
              </a:extLst>
            </p:cNvPr>
            <p:cNvGrpSpPr/>
            <p:nvPr/>
          </p:nvGrpSpPr>
          <p:grpSpPr>
            <a:xfrm>
              <a:off x="471310" y="96007"/>
              <a:ext cx="1883308" cy="255154"/>
              <a:chOff x="4829174" y="3270291"/>
              <a:chExt cx="1649752" cy="223511"/>
            </a:xfrm>
            <a:solidFill>
              <a:schemeClr val="bg1"/>
            </a:solidFill>
          </p:grpSpPr>
          <p:sp>
            <p:nvSpPr>
              <p:cNvPr id="34" name="Полилиния: фигура 60">
                <a:extLst>
                  <a:ext uri="{FF2B5EF4-FFF2-40B4-BE49-F238E27FC236}">
                    <a16:creationId xmlns="" xmlns:a16="http://schemas.microsoft.com/office/drawing/2014/main" id="{D48941FC-8EB9-4F9F-9B53-C88F2A37CA31}"/>
                  </a:ext>
                </a:extLst>
              </p:cNvPr>
              <p:cNvSpPr/>
              <p:nvPr/>
            </p:nvSpPr>
            <p:spPr>
              <a:xfrm>
                <a:off x="4829174" y="3273101"/>
                <a:ext cx="254970" cy="216927"/>
              </a:xfrm>
              <a:custGeom>
                <a:avLst/>
                <a:gdLst>
                  <a:gd name="connsiteX0" fmla="*/ 184145 w 254970"/>
                  <a:gd name="connsiteY0" fmla="*/ 0 h 216928"/>
                  <a:gd name="connsiteX1" fmla="*/ 127485 w 254970"/>
                  <a:gd name="connsiteY1" fmla="*/ 130533 h 216928"/>
                  <a:gd name="connsiteX2" fmla="*/ 69881 w 254970"/>
                  <a:gd name="connsiteY2" fmla="*/ 0 h 216928"/>
                  <a:gd name="connsiteX3" fmla="*/ 0 w 254970"/>
                  <a:gd name="connsiteY3" fmla="*/ 0 h 216928"/>
                  <a:gd name="connsiteX4" fmla="*/ 0 w 254970"/>
                  <a:gd name="connsiteY4" fmla="*/ 216929 h 216928"/>
                  <a:gd name="connsiteX5" fmla="*/ 50050 w 254970"/>
                  <a:gd name="connsiteY5" fmla="*/ 216929 h 216928"/>
                  <a:gd name="connsiteX6" fmla="*/ 50050 w 254970"/>
                  <a:gd name="connsiteY6" fmla="*/ 64797 h 216928"/>
                  <a:gd name="connsiteX7" fmla="*/ 116153 w 254970"/>
                  <a:gd name="connsiteY7" fmla="*/ 216929 h 216928"/>
                  <a:gd name="connsiteX8" fmla="*/ 137873 w 254970"/>
                  <a:gd name="connsiteY8" fmla="*/ 216929 h 216928"/>
                  <a:gd name="connsiteX9" fmla="*/ 203976 w 254970"/>
                  <a:gd name="connsiteY9" fmla="*/ 64797 h 216928"/>
                  <a:gd name="connsiteX10" fmla="*/ 203976 w 254970"/>
                  <a:gd name="connsiteY10" fmla="*/ 216929 h 216928"/>
                  <a:gd name="connsiteX11" fmla="*/ 254970 w 254970"/>
                  <a:gd name="connsiteY11" fmla="*/ 216929 h 216928"/>
                  <a:gd name="connsiteX12" fmla="*/ 254970 w 254970"/>
                  <a:gd name="connsiteY12" fmla="*/ 0 h 2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4970" h="216928">
                    <a:moveTo>
                      <a:pt x="184145" y="0"/>
                    </a:moveTo>
                    <a:lnTo>
                      <a:pt x="127485" y="130533"/>
                    </a:lnTo>
                    <a:lnTo>
                      <a:pt x="69881" y="0"/>
                    </a:lnTo>
                    <a:lnTo>
                      <a:pt x="0" y="0"/>
                    </a:lnTo>
                    <a:lnTo>
                      <a:pt x="0" y="216929"/>
                    </a:lnTo>
                    <a:lnTo>
                      <a:pt x="50050" y="216929"/>
                    </a:lnTo>
                    <a:lnTo>
                      <a:pt x="50050" y="64797"/>
                    </a:lnTo>
                    <a:lnTo>
                      <a:pt x="116153" y="216929"/>
                    </a:lnTo>
                    <a:lnTo>
                      <a:pt x="137873" y="216929"/>
                    </a:lnTo>
                    <a:lnTo>
                      <a:pt x="203976" y="64797"/>
                    </a:lnTo>
                    <a:lnTo>
                      <a:pt x="203976" y="216929"/>
                    </a:lnTo>
                    <a:lnTo>
                      <a:pt x="254970" y="216929"/>
                    </a:lnTo>
                    <a:lnTo>
                      <a:pt x="254970" y="0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5" name="Полилиния: фигура 61">
                <a:extLst>
                  <a:ext uri="{FF2B5EF4-FFF2-40B4-BE49-F238E27FC236}">
                    <a16:creationId xmlns="" xmlns:a16="http://schemas.microsoft.com/office/drawing/2014/main" id="{C25B6F3B-F1C1-409C-9C89-F567F8D7E626}"/>
                  </a:ext>
                </a:extLst>
              </p:cNvPr>
              <p:cNvSpPr/>
              <p:nvPr/>
            </p:nvSpPr>
            <p:spPr>
              <a:xfrm>
                <a:off x="5116251" y="3270291"/>
                <a:ext cx="222862" cy="223502"/>
              </a:xfrm>
              <a:custGeom>
                <a:avLst/>
                <a:gdLst>
                  <a:gd name="connsiteX0" fmla="*/ 0 w 222862"/>
                  <a:gd name="connsiteY0" fmla="*/ 111751 h 223502"/>
                  <a:gd name="connsiteX1" fmla="*/ 124652 w 222862"/>
                  <a:gd name="connsiteY1" fmla="*/ 0 h 223502"/>
                  <a:gd name="connsiteX2" fmla="*/ 222863 w 222862"/>
                  <a:gd name="connsiteY2" fmla="*/ 52589 h 223502"/>
                  <a:gd name="connsiteX3" fmla="*/ 180368 w 222862"/>
                  <a:gd name="connsiteY3" fmla="*/ 72310 h 223502"/>
                  <a:gd name="connsiteX4" fmla="*/ 124652 w 222862"/>
                  <a:gd name="connsiteY4" fmla="*/ 40381 h 223502"/>
                  <a:gd name="connsiteX5" fmla="*/ 50994 w 222862"/>
                  <a:gd name="connsiteY5" fmla="*/ 111751 h 223502"/>
                  <a:gd name="connsiteX6" fmla="*/ 124652 w 222862"/>
                  <a:gd name="connsiteY6" fmla="*/ 182182 h 223502"/>
                  <a:gd name="connsiteX7" fmla="*/ 180368 w 222862"/>
                  <a:gd name="connsiteY7" fmla="*/ 151193 h 223502"/>
                  <a:gd name="connsiteX8" fmla="*/ 222863 w 222862"/>
                  <a:gd name="connsiteY8" fmla="*/ 169974 h 223502"/>
                  <a:gd name="connsiteX9" fmla="*/ 124652 w 222862"/>
                  <a:gd name="connsiteY9" fmla="*/ 223502 h 223502"/>
                  <a:gd name="connsiteX10" fmla="*/ 0 w 222862"/>
                  <a:gd name="connsiteY10" fmla="*/ 111751 h 223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22862" h="223502">
                    <a:moveTo>
                      <a:pt x="0" y="111751"/>
                    </a:moveTo>
                    <a:cubicBezTo>
                      <a:pt x="0" y="45076"/>
                      <a:pt x="54771" y="0"/>
                      <a:pt x="124652" y="0"/>
                    </a:cubicBezTo>
                    <a:cubicBezTo>
                      <a:pt x="176591" y="0"/>
                      <a:pt x="206809" y="25355"/>
                      <a:pt x="222863" y="52589"/>
                    </a:cubicBezTo>
                    <a:lnTo>
                      <a:pt x="180368" y="72310"/>
                    </a:lnTo>
                    <a:cubicBezTo>
                      <a:pt x="170925" y="54467"/>
                      <a:pt x="149205" y="40381"/>
                      <a:pt x="124652" y="40381"/>
                    </a:cubicBezTo>
                    <a:cubicBezTo>
                      <a:pt x="82157" y="40381"/>
                      <a:pt x="50994" y="70431"/>
                      <a:pt x="50994" y="111751"/>
                    </a:cubicBezTo>
                    <a:cubicBezTo>
                      <a:pt x="50994" y="152132"/>
                      <a:pt x="82157" y="182182"/>
                      <a:pt x="124652" y="182182"/>
                    </a:cubicBezTo>
                    <a:cubicBezTo>
                      <a:pt x="149205" y="182182"/>
                      <a:pt x="170925" y="169035"/>
                      <a:pt x="180368" y="151193"/>
                    </a:cubicBezTo>
                    <a:lnTo>
                      <a:pt x="222863" y="169974"/>
                    </a:lnTo>
                    <a:cubicBezTo>
                      <a:pt x="206809" y="197208"/>
                      <a:pt x="176591" y="223502"/>
                      <a:pt x="124652" y="223502"/>
                    </a:cubicBezTo>
                    <a:cubicBezTo>
                      <a:pt x="54771" y="223502"/>
                      <a:pt x="0" y="177487"/>
                      <a:pt x="0" y="111751"/>
                    </a:cubicBez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6" name="Полилиния: фигура 62">
                <a:extLst>
                  <a:ext uri="{FF2B5EF4-FFF2-40B4-BE49-F238E27FC236}">
                    <a16:creationId xmlns="" xmlns:a16="http://schemas.microsoft.com/office/drawing/2014/main" id="{A5941BD5-2DA8-4726-9354-30AA696E0F6B}"/>
                  </a:ext>
                </a:extLst>
              </p:cNvPr>
              <p:cNvSpPr/>
              <p:nvPr/>
            </p:nvSpPr>
            <p:spPr>
              <a:xfrm>
                <a:off x="5366499" y="3273113"/>
                <a:ext cx="211530" cy="216928"/>
              </a:xfrm>
              <a:custGeom>
                <a:avLst/>
                <a:gdLst>
                  <a:gd name="connsiteX0" fmla="*/ 160537 w 211530"/>
                  <a:gd name="connsiteY0" fmla="*/ 216929 h 216928"/>
                  <a:gd name="connsiteX1" fmla="*/ 160537 w 211530"/>
                  <a:gd name="connsiteY1" fmla="*/ 41320 h 216928"/>
                  <a:gd name="connsiteX2" fmla="*/ 50050 w 211530"/>
                  <a:gd name="connsiteY2" fmla="*/ 41320 h 216928"/>
                  <a:gd name="connsiteX3" fmla="*/ 50050 w 211530"/>
                  <a:gd name="connsiteY3" fmla="*/ 216929 h 216928"/>
                  <a:gd name="connsiteX4" fmla="*/ 0 w 211530"/>
                  <a:gd name="connsiteY4" fmla="*/ 216929 h 216928"/>
                  <a:gd name="connsiteX5" fmla="*/ 0 w 211530"/>
                  <a:gd name="connsiteY5" fmla="*/ 0 h 216928"/>
                  <a:gd name="connsiteX6" fmla="*/ 211531 w 211530"/>
                  <a:gd name="connsiteY6" fmla="*/ 0 h 216928"/>
                  <a:gd name="connsiteX7" fmla="*/ 211531 w 211530"/>
                  <a:gd name="connsiteY7" fmla="*/ 216929 h 2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1530" h="216928">
                    <a:moveTo>
                      <a:pt x="160537" y="216929"/>
                    </a:moveTo>
                    <a:lnTo>
                      <a:pt x="160537" y="41320"/>
                    </a:lnTo>
                    <a:lnTo>
                      <a:pt x="50050" y="41320"/>
                    </a:lnTo>
                    <a:lnTo>
                      <a:pt x="50050" y="216929"/>
                    </a:lnTo>
                    <a:lnTo>
                      <a:pt x="0" y="216929"/>
                    </a:lnTo>
                    <a:lnTo>
                      <a:pt x="0" y="0"/>
                    </a:lnTo>
                    <a:lnTo>
                      <a:pt x="211531" y="0"/>
                    </a:lnTo>
                    <a:lnTo>
                      <a:pt x="211531" y="216929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7" name="Полилиния: фигура 63">
                <a:extLst>
                  <a:ext uri="{FF2B5EF4-FFF2-40B4-BE49-F238E27FC236}">
                    <a16:creationId xmlns="" xmlns:a16="http://schemas.microsoft.com/office/drawing/2014/main" id="{ABC7DA9B-726F-44AF-AEAA-75CDC184B77F}"/>
                  </a:ext>
                </a:extLst>
              </p:cNvPr>
              <p:cNvSpPr/>
              <p:nvPr/>
            </p:nvSpPr>
            <p:spPr>
              <a:xfrm>
                <a:off x="5707407" y="3273117"/>
                <a:ext cx="188866" cy="216928"/>
              </a:xfrm>
              <a:custGeom>
                <a:avLst/>
                <a:gdLst>
                  <a:gd name="connsiteX0" fmla="*/ 50050 w 188866"/>
                  <a:gd name="connsiteY0" fmla="*/ 119264 h 216928"/>
                  <a:gd name="connsiteX1" fmla="*/ 50050 w 188866"/>
                  <a:gd name="connsiteY1" fmla="*/ 175609 h 216928"/>
                  <a:gd name="connsiteX2" fmla="*/ 104821 w 188866"/>
                  <a:gd name="connsiteY2" fmla="*/ 175609 h 216928"/>
                  <a:gd name="connsiteX3" fmla="*/ 137873 w 188866"/>
                  <a:gd name="connsiteY3" fmla="*/ 147436 h 216928"/>
                  <a:gd name="connsiteX4" fmla="*/ 104821 w 188866"/>
                  <a:gd name="connsiteY4" fmla="*/ 119264 h 216928"/>
                  <a:gd name="connsiteX5" fmla="*/ 50050 w 188866"/>
                  <a:gd name="connsiteY5" fmla="*/ 119264 h 216928"/>
                  <a:gd name="connsiteX6" fmla="*/ 171869 w 188866"/>
                  <a:gd name="connsiteY6" fmla="*/ 0 h 216928"/>
                  <a:gd name="connsiteX7" fmla="*/ 171869 w 188866"/>
                  <a:gd name="connsiteY7" fmla="*/ 41320 h 216928"/>
                  <a:gd name="connsiteX8" fmla="*/ 50050 w 188866"/>
                  <a:gd name="connsiteY8" fmla="*/ 41320 h 216928"/>
                  <a:gd name="connsiteX9" fmla="*/ 50050 w 188866"/>
                  <a:gd name="connsiteY9" fmla="*/ 78883 h 216928"/>
                  <a:gd name="connsiteX10" fmla="*/ 111431 w 188866"/>
                  <a:gd name="connsiteY10" fmla="*/ 78883 h 216928"/>
                  <a:gd name="connsiteX11" fmla="*/ 188867 w 188866"/>
                  <a:gd name="connsiteY11" fmla="*/ 147436 h 216928"/>
                  <a:gd name="connsiteX12" fmla="*/ 111431 w 188866"/>
                  <a:gd name="connsiteY12" fmla="*/ 216929 h 216928"/>
                  <a:gd name="connsiteX13" fmla="*/ 0 w 188866"/>
                  <a:gd name="connsiteY13" fmla="*/ 216929 h 216928"/>
                  <a:gd name="connsiteX14" fmla="*/ 0 w 188866"/>
                  <a:gd name="connsiteY14" fmla="*/ 0 h 216928"/>
                  <a:gd name="connsiteX15" fmla="*/ 171869 w 188866"/>
                  <a:gd name="connsiteY15" fmla="*/ 0 h 2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8866" h="216928">
                    <a:moveTo>
                      <a:pt x="50050" y="119264"/>
                    </a:moveTo>
                    <a:lnTo>
                      <a:pt x="50050" y="175609"/>
                    </a:lnTo>
                    <a:lnTo>
                      <a:pt x="104821" y="175609"/>
                    </a:lnTo>
                    <a:cubicBezTo>
                      <a:pt x="123708" y="175609"/>
                      <a:pt x="137873" y="165279"/>
                      <a:pt x="137873" y="147436"/>
                    </a:cubicBezTo>
                    <a:cubicBezTo>
                      <a:pt x="137873" y="130533"/>
                      <a:pt x="123708" y="119264"/>
                      <a:pt x="104821" y="119264"/>
                    </a:cubicBezTo>
                    <a:lnTo>
                      <a:pt x="50050" y="119264"/>
                    </a:lnTo>
                    <a:close/>
                    <a:moveTo>
                      <a:pt x="171869" y="0"/>
                    </a:moveTo>
                    <a:lnTo>
                      <a:pt x="171869" y="41320"/>
                    </a:lnTo>
                    <a:lnTo>
                      <a:pt x="50050" y="41320"/>
                    </a:lnTo>
                    <a:lnTo>
                      <a:pt x="50050" y="78883"/>
                    </a:lnTo>
                    <a:lnTo>
                      <a:pt x="111431" y="78883"/>
                    </a:lnTo>
                    <a:cubicBezTo>
                      <a:pt x="161481" y="78883"/>
                      <a:pt x="188867" y="110812"/>
                      <a:pt x="188867" y="147436"/>
                    </a:cubicBezTo>
                    <a:cubicBezTo>
                      <a:pt x="188867" y="185000"/>
                      <a:pt x="161481" y="216929"/>
                      <a:pt x="111431" y="216929"/>
                    </a:cubicBezTo>
                    <a:lnTo>
                      <a:pt x="0" y="216929"/>
                    </a:lnTo>
                    <a:lnTo>
                      <a:pt x="0" y="0"/>
                    </a:lnTo>
                    <a:lnTo>
                      <a:pt x="171869" y="0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8" name="Полилиния: фигура 64">
                <a:extLst>
                  <a:ext uri="{FF2B5EF4-FFF2-40B4-BE49-F238E27FC236}">
                    <a16:creationId xmlns="" xmlns:a16="http://schemas.microsoft.com/office/drawing/2014/main" id="{EF8C3860-6598-4CA0-85C6-A93885CE466C}"/>
                  </a:ext>
                </a:extLst>
              </p:cNvPr>
              <p:cNvSpPr/>
              <p:nvPr/>
            </p:nvSpPr>
            <p:spPr>
              <a:xfrm>
                <a:off x="5912328" y="3329463"/>
                <a:ext cx="157703" cy="164339"/>
              </a:xfrm>
              <a:custGeom>
                <a:avLst/>
                <a:gdLst>
                  <a:gd name="connsiteX0" fmla="*/ 113320 w 157703"/>
                  <a:gd name="connsiteY0" fmla="*/ 122081 h 164339"/>
                  <a:gd name="connsiteX1" fmla="*/ 113320 w 157703"/>
                  <a:gd name="connsiteY1" fmla="*/ 103299 h 164339"/>
                  <a:gd name="connsiteX2" fmla="*/ 77435 w 157703"/>
                  <a:gd name="connsiteY2" fmla="*/ 89213 h 164339"/>
                  <a:gd name="connsiteX3" fmla="*/ 45328 w 157703"/>
                  <a:gd name="connsiteY3" fmla="*/ 112690 h 164339"/>
                  <a:gd name="connsiteX4" fmla="*/ 77435 w 157703"/>
                  <a:gd name="connsiteY4" fmla="*/ 136167 h 164339"/>
                  <a:gd name="connsiteX5" fmla="*/ 113320 w 157703"/>
                  <a:gd name="connsiteY5" fmla="*/ 122081 h 164339"/>
                  <a:gd name="connsiteX6" fmla="*/ 113320 w 157703"/>
                  <a:gd name="connsiteY6" fmla="*/ 160583 h 164339"/>
                  <a:gd name="connsiteX7" fmla="*/ 113320 w 157703"/>
                  <a:gd name="connsiteY7" fmla="*/ 143680 h 164339"/>
                  <a:gd name="connsiteX8" fmla="*/ 59493 w 157703"/>
                  <a:gd name="connsiteY8" fmla="*/ 164340 h 164339"/>
                  <a:gd name="connsiteX9" fmla="*/ 0 w 157703"/>
                  <a:gd name="connsiteY9" fmla="*/ 111751 h 164339"/>
                  <a:gd name="connsiteX10" fmla="*/ 59493 w 157703"/>
                  <a:gd name="connsiteY10" fmla="*/ 61980 h 164339"/>
                  <a:gd name="connsiteX11" fmla="*/ 113320 w 157703"/>
                  <a:gd name="connsiteY11" fmla="*/ 80761 h 164339"/>
                  <a:gd name="connsiteX12" fmla="*/ 113320 w 157703"/>
                  <a:gd name="connsiteY12" fmla="*/ 60101 h 164339"/>
                  <a:gd name="connsiteX13" fmla="*/ 75547 w 157703"/>
                  <a:gd name="connsiteY13" fmla="*/ 33807 h 164339"/>
                  <a:gd name="connsiteX14" fmla="*/ 26441 w 157703"/>
                  <a:gd name="connsiteY14" fmla="*/ 51650 h 164339"/>
                  <a:gd name="connsiteX15" fmla="*/ 9443 w 157703"/>
                  <a:gd name="connsiteY15" fmla="*/ 24416 h 164339"/>
                  <a:gd name="connsiteX16" fmla="*/ 84046 w 157703"/>
                  <a:gd name="connsiteY16" fmla="*/ 0 h 164339"/>
                  <a:gd name="connsiteX17" fmla="*/ 157704 w 157703"/>
                  <a:gd name="connsiteY17" fmla="*/ 59162 h 164339"/>
                  <a:gd name="connsiteX18" fmla="*/ 157704 w 157703"/>
                  <a:gd name="connsiteY18" fmla="*/ 160583 h 164339"/>
                  <a:gd name="connsiteX19" fmla="*/ 113320 w 157703"/>
                  <a:gd name="connsiteY19" fmla="*/ 160583 h 164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57703" h="164339">
                    <a:moveTo>
                      <a:pt x="113320" y="122081"/>
                    </a:moveTo>
                    <a:lnTo>
                      <a:pt x="113320" y="103299"/>
                    </a:lnTo>
                    <a:cubicBezTo>
                      <a:pt x="105765" y="93908"/>
                      <a:pt x="91600" y="89213"/>
                      <a:pt x="77435" y="89213"/>
                    </a:cubicBezTo>
                    <a:cubicBezTo>
                      <a:pt x="59493" y="89213"/>
                      <a:pt x="45328" y="97665"/>
                      <a:pt x="45328" y="112690"/>
                    </a:cubicBezTo>
                    <a:cubicBezTo>
                      <a:pt x="45328" y="127715"/>
                      <a:pt x="59493" y="136167"/>
                      <a:pt x="77435" y="136167"/>
                    </a:cubicBezTo>
                    <a:cubicBezTo>
                      <a:pt x="91600" y="136167"/>
                      <a:pt x="105765" y="131472"/>
                      <a:pt x="113320" y="122081"/>
                    </a:cubicBezTo>
                    <a:close/>
                    <a:moveTo>
                      <a:pt x="113320" y="160583"/>
                    </a:moveTo>
                    <a:lnTo>
                      <a:pt x="113320" y="143680"/>
                    </a:lnTo>
                    <a:cubicBezTo>
                      <a:pt x="101988" y="156827"/>
                      <a:pt x="81213" y="164340"/>
                      <a:pt x="59493" y="164340"/>
                    </a:cubicBezTo>
                    <a:cubicBezTo>
                      <a:pt x="32107" y="164340"/>
                      <a:pt x="0" y="147436"/>
                      <a:pt x="0" y="111751"/>
                    </a:cubicBezTo>
                    <a:cubicBezTo>
                      <a:pt x="0" y="76066"/>
                      <a:pt x="32107" y="61980"/>
                      <a:pt x="59493" y="61980"/>
                    </a:cubicBezTo>
                    <a:cubicBezTo>
                      <a:pt x="82157" y="61980"/>
                      <a:pt x="101988" y="68553"/>
                      <a:pt x="113320" y="80761"/>
                    </a:cubicBezTo>
                    <a:lnTo>
                      <a:pt x="113320" y="60101"/>
                    </a:lnTo>
                    <a:cubicBezTo>
                      <a:pt x="113320" y="44137"/>
                      <a:pt x="98211" y="33807"/>
                      <a:pt x="75547" y="33807"/>
                    </a:cubicBezTo>
                    <a:cubicBezTo>
                      <a:pt x="57604" y="33807"/>
                      <a:pt x="40606" y="39442"/>
                      <a:pt x="26441" y="51650"/>
                    </a:cubicBezTo>
                    <a:lnTo>
                      <a:pt x="9443" y="24416"/>
                    </a:lnTo>
                    <a:cubicBezTo>
                      <a:pt x="30219" y="7513"/>
                      <a:pt x="56660" y="0"/>
                      <a:pt x="84046" y="0"/>
                    </a:cubicBezTo>
                    <a:cubicBezTo>
                      <a:pt x="122764" y="0"/>
                      <a:pt x="157704" y="14086"/>
                      <a:pt x="157704" y="59162"/>
                    </a:cubicBezTo>
                    <a:lnTo>
                      <a:pt x="157704" y="160583"/>
                    </a:lnTo>
                    <a:lnTo>
                      <a:pt x="113320" y="160583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39" name="Полилиния: фигура 65">
                <a:extLst>
                  <a:ext uri="{FF2B5EF4-FFF2-40B4-BE49-F238E27FC236}">
                    <a16:creationId xmlns="" xmlns:a16="http://schemas.microsoft.com/office/drawing/2014/main" id="{8838ABF2-34BB-4C2F-B6E7-44B148577E02}"/>
                  </a:ext>
                </a:extLst>
              </p:cNvPr>
              <p:cNvSpPr/>
              <p:nvPr/>
            </p:nvSpPr>
            <p:spPr>
              <a:xfrm>
                <a:off x="6111587" y="3333210"/>
                <a:ext cx="159592" cy="156827"/>
              </a:xfrm>
              <a:custGeom>
                <a:avLst/>
                <a:gdLst>
                  <a:gd name="connsiteX0" fmla="*/ 0 w 159592"/>
                  <a:gd name="connsiteY0" fmla="*/ 156827 h 156827"/>
                  <a:gd name="connsiteX1" fmla="*/ 0 w 159592"/>
                  <a:gd name="connsiteY1" fmla="*/ 0 h 156827"/>
                  <a:gd name="connsiteX2" fmla="*/ 44384 w 159592"/>
                  <a:gd name="connsiteY2" fmla="*/ 0 h 156827"/>
                  <a:gd name="connsiteX3" fmla="*/ 44384 w 159592"/>
                  <a:gd name="connsiteY3" fmla="*/ 58223 h 156827"/>
                  <a:gd name="connsiteX4" fmla="*/ 115209 w 159592"/>
                  <a:gd name="connsiteY4" fmla="*/ 58223 h 156827"/>
                  <a:gd name="connsiteX5" fmla="*/ 115209 w 159592"/>
                  <a:gd name="connsiteY5" fmla="*/ 0 h 156827"/>
                  <a:gd name="connsiteX6" fmla="*/ 159593 w 159592"/>
                  <a:gd name="connsiteY6" fmla="*/ 0 h 156827"/>
                  <a:gd name="connsiteX7" fmla="*/ 159593 w 159592"/>
                  <a:gd name="connsiteY7" fmla="*/ 156827 h 156827"/>
                  <a:gd name="connsiteX8" fmla="*/ 115209 w 159592"/>
                  <a:gd name="connsiteY8" fmla="*/ 156827 h 156827"/>
                  <a:gd name="connsiteX9" fmla="*/ 115209 w 159592"/>
                  <a:gd name="connsiteY9" fmla="*/ 93908 h 156827"/>
                  <a:gd name="connsiteX10" fmla="*/ 44384 w 159592"/>
                  <a:gd name="connsiteY10" fmla="*/ 93908 h 156827"/>
                  <a:gd name="connsiteX11" fmla="*/ 44384 w 159592"/>
                  <a:gd name="connsiteY11" fmla="*/ 156827 h 156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9592" h="156827">
                    <a:moveTo>
                      <a:pt x="0" y="156827"/>
                    </a:moveTo>
                    <a:lnTo>
                      <a:pt x="0" y="0"/>
                    </a:lnTo>
                    <a:lnTo>
                      <a:pt x="44384" y="0"/>
                    </a:lnTo>
                    <a:lnTo>
                      <a:pt x="44384" y="58223"/>
                    </a:lnTo>
                    <a:lnTo>
                      <a:pt x="115209" y="58223"/>
                    </a:lnTo>
                    <a:lnTo>
                      <a:pt x="115209" y="0"/>
                    </a:lnTo>
                    <a:lnTo>
                      <a:pt x="159593" y="0"/>
                    </a:lnTo>
                    <a:lnTo>
                      <a:pt x="159593" y="156827"/>
                    </a:lnTo>
                    <a:lnTo>
                      <a:pt x="115209" y="156827"/>
                    </a:lnTo>
                    <a:lnTo>
                      <a:pt x="115209" y="93908"/>
                    </a:lnTo>
                    <a:lnTo>
                      <a:pt x="44384" y="93908"/>
                    </a:lnTo>
                    <a:lnTo>
                      <a:pt x="44384" y="156827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  <p:sp>
            <p:nvSpPr>
              <p:cNvPr id="40" name="Полилиния: фигура 66">
                <a:extLst>
                  <a:ext uri="{FF2B5EF4-FFF2-40B4-BE49-F238E27FC236}">
                    <a16:creationId xmlns="" xmlns:a16="http://schemas.microsoft.com/office/drawing/2014/main" id="{A740F2A1-DA9F-4D04-9F8A-7C1C87595940}"/>
                  </a:ext>
                </a:extLst>
              </p:cNvPr>
              <p:cNvSpPr/>
              <p:nvPr/>
            </p:nvSpPr>
            <p:spPr>
              <a:xfrm>
                <a:off x="6312724" y="3333213"/>
                <a:ext cx="166202" cy="156827"/>
              </a:xfrm>
              <a:custGeom>
                <a:avLst/>
                <a:gdLst>
                  <a:gd name="connsiteX0" fmla="*/ 110487 w 166202"/>
                  <a:gd name="connsiteY0" fmla="*/ 156827 h 156827"/>
                  <a:gd name="connsiteX1" fmla="*/ 65159 w 166202"/>
                  <a:gd name="connsiteY1" fmla="*/ 95787 h 156827"/>
                  <a:gd name="connsiteX2" fmla="*/ 44384 w 166202"/>
                  <a:gd name="connsiteY2" fmla="*/ 116446 h 156827"/>
                  <a:gd name="connsiteX3" fmla="*/ 44384 w 166202"/>
                  <a:gd name="connsiteY3" fmla="*/ 156827 h 156827"/>
                  <a:gd name="connsiteX4" fmla="*/ 0 w 166202"/>
                  <a:gd name="connsiteY4" fmla="*/ 156827 h 156827"/>
                  <a:gd name="connsiteX5" fmla="*/ 0 w 166202"/>
                  <a:gd name="connsiteY5" fmla="*/ 0 h 156827"/>
                  <a:gd name="connsiteX6" fmla="*/ 44384 w 166202"/>
                  <a:gd name="connsiteY6" fmla="*/ 0 h 156827"/>
                  <a:gd name="connsiteX7" fmla="*/ 44384 w 166202"/>
                  <a:gd name="connsiteY7" fmla="*/ 69492 h 156827"/>
                  <a:gd name="connsiteX8" fmla="*/ 109543 w 166202"/>
                  <a:gd name="connsiteY8" fmla="*/ 0 h 156827"/>
                  <a:gd name="connsiteX9" fmla="*/ 164314 w 166202"/>
                  <a:gd name="connsiteY9" fmla="*/ 0 h 156827"/>
                  <a:gd name="connsiteX10" fmla="*/ 97266 w 166202"/>
                  <a:gd name="connsiteY10" fmla="*/ 70431 h 156827"/>
                  <a:gd name="connsiteX11" fmla="*/ 166203 w 166202"/>
                  <a:gd name="connsiteY11" fmla="*/ 156827 h 156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6202" h="156827">
                    <a:moveTo>
                      <a:pt x="110487" y="156827"/>
                    </a:moveTo>
                    <a:lnTo>
                      <a:pt x="65159" y="95787"/>
                    </a:lnTo>
                    <a:lnTo>
                      <a:pt x="44384" y="116446"/>
                    </a:lnTo>
                    <a:lnTo>
                      <a:pt x="44384" y="156827"/>
                    </a:lnTo>
                    <a:lnTo>
                      <a:pt x="0" y="156827"/>
                    </a:lnTo>
                    <a:lnTo>
                      <a:pt x="0" y="0"/>
                    </a:lnTo>
                    <a:lnTo>
                      <a:pt x="44384" y="0"/>
                    </a:lnTo>
                    <a:lnTo>
                      <a:pt x="44384" y="69492"/>
                    </a:lnTo>
                    <a:lnTo>
                      <a:pt x="109543" y="0"/>
                    </a:lnTo>
                    <a:lnTo>
                      <a:pt x="164314" y="0"/>
                    </a:lnTo>
                    <a:lnTo>
                      <a:pt x="97266" y="70431"/>
                    </a:lnTo>
                    <a:lnTo>
                      <a:pt x="166203" y="156827"/>
                    </a:lnTo>
                    <a:close/>
                  </a:path>
                </a:pathLst>
              </a:custGeom>
              <a:grpFill/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srgbClr val="50504F"/>
                  </a:solidFill>
                </a:endParaRPr>
              </a:p>
            </p:txBody>
          </p:sp>
        </p:grpSp>
        <p:grpSp>
          <p:nvGrpSpPr>
            <p:cNvPr id="22" name="Группа 21"/>
            <p:cNvGrpSpPr/>
            <p:nvPr/>
          </p:nvGrpSpPr>
          <p:grpSpPr>
            <a:xfrm>
              <a:off x="2406360" y="-27283"/>
              <a:ext cx="957286" cy="608913"/>
              <a:chOff x="2406360" y="-27283"/>
              <a:chExt cx="957286" cy="608913"/>
            </a:xfrm>
          </p:grpSpPr>
          <p:sp>
            <p:nvSpPr>
              <p:cNvPr id="25" name="Полилиния: фигура 52">
                <a:extLst>
                  <a:ext uri="{FF2B5EF4-FFF2-40B4-BE49-F238E27FC236}">
                    <a16:creationId xmlns="" xmlns:a16="http://schemas.microsoft.com/office/drawing/2014/main" id="{929AE324-84AF-47DC-A92A-2FE390440574}"/>
                  </a:ext>
                </a:extLst>
              </p:cNvPr>
              <p:cNvSpPr/>
              <p:nvPr/>
            </p:nvSpPr>
            <p:spPr>
              <a:xfrm>
                <a:off x="2406360" y="164610"/>
                <a:ext cx="260884" cy="417019"/>
              </a:xfrm>
              <a:custGeom>
                <a:avLst/>
                <a:gdLst>
                  <a:gd name="connsiteX0" fmla="*/ 0 w 228528"/>
                  <a:gd name="connsiteY0" fmla="*/ 365304 h 365303"/>
                  <a:gd name="connsiteX1" fmla="*/ 228529 w 228528"/>
                  <a:gd name="connsiteY1" fmla="*/ 365304 h 365303"/>
                  <a:gd name="connsiteX2" fmla="*/ 84046 w 228528"/>
                  <a:gd name="connsiteY2" fmla="*/ 0 h 36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8528" h="365303">
                    <a:moveTo>
                      <a:pt x="0" y="365304"/>
                    </a:moveTo>
                    <a:lnTo>
                      <a:pt x="228529" y="365304"/>
                    </a:lnTo>
                    <a:lnTo>
                      <a:pt x="84046" y="0"/>
                    </a:lnTo>
                    <a:close/>
                  </a:path>
                </a:pathLst>
              </a:custGeom>
              <a:solidFill>
                <a:schemeClr val="bg1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Полилиния: фигура 53">
                <a:extLst>
                  <a:ext uri="{FF2B5EF4-FFF2-40B4-BE49-F238E27FC236}">
                    <a16:creationId xmlns="" xmlns:a16="http://schemas.microsoft.com/office/drawing/2014/main" id="{0BCFCA76-32B6-4674-9FA0-C37DF3E37F2F}"/>
                  </a:ext>
                </a:extLst>
              </p:cNvPr>
              <p:cNvSpPr/>
              <p:nvPr/>
            </p:nvSpPr>
            <p:spPr>
              <a:xfrm>
                <a:off x="2426840" y="-27283"/>
                <a:ext cx="336348" cy="608913"/>
              </a:xfrm>
              <a:custGeom>
                <a:avLst/>
                <a:gdLst>
                  <a:gd name="connsiteX0" fmla="*/ 0 w 294632"/>
                  <a:gd name="connsiteY0" fmla="*/ 0 h 533400"/>
                  <a:gd name="connsiteX1" fmla="*/ 66103 w 294632"/>
                  <a:gd name="connsiteY1" fmla="*/ 168096 h 533400"/>
                  <a:gd name="connsiteX2" fmla="*/ 210587 w 294632"/>
                  <a:gd name="connsiteY2" fmla="*/ 533400 h 533400"/>
                  <a:gd name="connsiteX3" fmla="*/ 294632 w 294632"/>
                  <a:gd name="connsiteY3" fmla="*/ 168096 h 533400"/>
                  <a:gd name="connsiteX4" fmla="*/ 228529 w 294632"/>
                  <a:gd name="connsiteY4" fmla="*/ 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4632" h="533400">
                    <a:moveTo>
                      <a:pt x="0" y="0"/>
                    </a:moveTo>
                    <a:lnTo>
                      <a:pt x="66103" y="168096"/>
                    </a:lnTo>
                    <a:lnTo>
                      <a:pt x="210587" y="533400"/>
                    </a:lnTo>
                    <a:lnTo>
                      <a:pt x="294632" y="168096"/>
                    </a:lnTo>
                    <a:lnTo>
                      <a:pt x="228529" y="0"/>
                    </a:lnTo>
                    <a:close/>
                  </a:path>
                </a:pathLst>
              </a:custGeom>
              <a:solidFill>
                <a:srgbClr val="B8B9BA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Полилиния: фигура 54">
                <a:extLst>
                  <a:ext uri="{FF2B5EF4-FFF2-40B4-BE49-F238E27FC236}">
                    <a16:creationId xmlns="" xmlns:a16="http://schemas.microsoft.com/office/drawing/2014/main" id="{E9E6C676-2B08-44A6-BDA5-4546D35201F2}"/>
                  </a:ext>
                </a:extLst>
              </p:cNvPr>
              <p:cNvSpPr/>
              <p:nvPr/>
            </p:nvSpPr>
            <p:spPr>
              <a:xfrm>
                <a:off x="2706053" y="164610"/>
                <a:ext cx="260884" cy="417019"/>
              </a:xfrm>
              <a:custGeom>
                <a:avLst/>
                <a:gdLst>
                  <a:gd name="connsiteX0" fmla="*/ 0 w 228528"/>
                  <a:gd name="connsiteY0" fmla="*/ 365304 h 365303"/>
                  <a:gd name="connsiteX1" fmla="*/ 84990 w 228528"/>
                  <a:gd name="connsiteY1" fmla="*/ 0 h 365303"/>
                  <a:gd name="connsiteX2" fmla="*/ 228529 w 228528"/>
                  <a:gd name="connsiteY2" fmla="*/ 365304 h 36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8528" h="365303">
                    <a:moveTo>
                      <a:pt x="0" y="365304"/>
                    </a:moveTo>
                    <a:lnTo>
                      <a:pt x="84990" y="0"/>
                    </a:lnTo>
                    <a:lnTo>
                      <a:pt x="228529" y="365304"/>
                    </a:lnTo>
                    <a:close/>
                  </a:path>
                </a:pathLst>
              </a:custGeom>
              <a:solidFill>
                <a:srgbClr val="7FCAFF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Полилиния: фигура 55">
                <a:extLst>
                  <a:ext uri="{FF2B5EF4-FFF2-40B4-BE49-F238E27FC236}">
                    <a16:creationId xmlns="" xmlns:a16="http://schemas.microsoft.com/office/drawing/2014/main" id="{69787FAB-7C43-4ACA-B03C-9B2B39BA0220}"/>
                  </a:ext>
                </a:extLst>
              </p:cNvPr>
              <p:cNvSpPr/>
              <p:nvPr/>
            </p:nvSpPr>
            <p:spPr>
              <a:xfrm>
                <a:off x="2726534" y="-27283"/>
                <a:ext cx="337425" cy="608913"/>
              </a:xfrm>
              <a:custGeom>
                <a:avLst/>
                <a:gdLst>
                  <a:gd name="connsiteX0" fmla="*/ 295577 w 295576"/>
                  <a:gd name="connsiteY0" fmla="*/ 168096 h 533400"/>
                  <a:gd name="connsiteX1" fmla="*/ 210587 w 295576"/>
                  <a:gd name="connsiteY1" fmla="*/ 533400 h 533400"/>
                  <a:gd name="connsiteX2" fmla="*/ 67048 w 295576"/>
                  <a:gd name="connsiteY2" fmla="*/ 168096 h 533400"/>
                  <a:gd name="connsiteX3" fmla="*/ 0 w 295576"/>
                  <a:gd name="connsiteY3" fmla="*/ 0 h 533400"/>
                  <a:gd name="connsiteX4" fmla="*/ 228529 w 295576"/>
                  <a:gd name="connsiteY4" fmla="*/ 0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5576" h="533400">
                    <a:moveTo>
                      <a:pt x="295577" y="168096"/>
                    </a:moveTo>
                    <a:lnTo>
                      <a:pt x="210587" y="533400"/>
                    </a:lnTo>
                    <a:lnTo>
                      <a:pt x="67048" y="168096"/>
                    </a:lnTo>
                    <a:lnTo>
                      <a:pt x="0" y="0"/>
                    </a:lnTo>
                    <a:lnTo>
                      <a:pt x="228529" y="0"/>
                    </a:lnTo>
                    <a:close/>
                  </a:path>
                </a:pathLst>
              </a:custGeom>
              <a:solidFill>
                <a:srgbClr val="0071BD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Полилиния: фигура 56">
                <a:extLst>
                  <a:ext uri="{FF2B5EF4-FFF2-40B4-BE49-F238E27FC236}">
                    <a16:creationId xmlns="" xmlns:a16="http://schemas.microsoft.com/office/drawing/2014/main" id="{334FD48A-74DC-4258-8F86-7C2D563A322F}"/>
                  </a:ext>
                </a:extLst>
              </p:cNvPr>
              <p:cNvSpPr/>
              <p:nvPr/>
            </p:nvSpPr>
            <p:spPr>
              <a:xfrm>
                <a:off x="3006824" y="164610"/>
                <a:ext cx="260884" cy="417019"/>
              </a:xfrm>
              <a:custGeom>
                <a:avLst/>
                <a:gdLst>
                  <a:gd name="connsiteX0" fmla="*/ 0 w 228528"/>
                  <a:gd name="connsiteY0" fmla="*/ 365304 h 365303"/>
                  <a:gd name="connsiteX1" fmla="*/ 84046 w 228528"/>
                  <a:gd name="connsiteY1" fmla="*/ 0 h 365303"/>
                  <a:gd name="connsiteX2" fmla="*/ 228529 w 228528"/>
                  <a:gd name="connsiteY2" fmla="*/ 365304 h 365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8528" h="365303">
                    <a:moveTo>
                      <a:pt x="0" y="365304"/>
                    </a:moveTo>
                    <a:lnTo>
                      <a:pt x="84046" y="0"/>
                    </a:lnTo>
                    <a:lnTo>
                      <a:pt x="228529" y="365304"/>
                    </a:lnTo>
                    <a:close/>
                  </a:path>
                </a:pathLst>
              </a:custGeom>
              <a:solidFill>
                <a:srgbClr val="FF6E6E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  <p:sp>
            <p:nvSpPr>
              <p:cNvPr id="33" name="Полилиния: фигура 57">
                <a:extLst>
                  <a:ext uri="{FF2B5EF4-FFF2-40B4-BE49-F238E27FC236}">
                    <a16:creationId xmlns="" xmlns:a16="http://schemas.microsoft.com/office/drawing/2014/main" id="{5D9111EF-7867-4F92-A347-E8BDB223A46F}"/>
                  </a:ext>
                </a:extLst>
              </p:cNvPr>
              <p:cNvSpPr/>
              <p:nvPr/>
            </p:nvSpPr>
            <p:spPr>
              <a:xfrm>
                <a:off x="3027298" y="-27283"/>
                <a:ext cx="336348" cy="608913"/>
              </a:xfrm>
              <a:custGeom>
                <a:avLst/>
                <a:gdLst>
                  <a:gd name="connsiteX0" fmla="*/ 294632 w 294632"/>
                  <a:gd name="connsiteY0" fmla="*/ 168096 h 533400"/>
                  <a:gd name="connsiteX1" fmla="*/ 210587 w 294632"/>
                  <a:gd name="connsiteY1" fmla="*/ 533400 h 533400"/>
                  <a:gd name="connsiteX2" fmla="*/ 66103 w 294632"/>
                  <a:gd name="connsiteY2" fmla="*/ 168096 h 533400"/>
                  <a:gd name="connsiteX3" fmla="*/ 0 w 294632"/>
                  <a:gd name="connsiteY3" fmla="*/ 0 h 533400"/>
                  <a:gd name="connsiteX4" fmla="*/ 228529 w 294632"/>
                  <a:gd name="connsiteY4" fmla="*/ 0 h 533400"/>
                  <a:gd name="connsiteX5" fmla="*/ 294632 w 294632"/>
                  <a:gd name="connsiteY5" fmla="*/ 168096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4632" h="533400">
                    <a:moveTo>
                      <a:pt x="294632" y="168096"/>
                    </a:moveTo>
                    <a:lnTo>
                      <a:pt x="210587" y="533400"/>
                    </a:lnTo>
                    <a:lnTo>
                      <a:pt x="66103" y="168096"/>
                    </a:lnTo>
                    <a:lnTo>
                      <a:pt x="0" y="0"/>
                    </a:lnTo>
                    <a:lnTo>
                      <a:pt x="228529" y="0"/>
                    </a:lnTo>
                    <a:lnTo>
                      <a:pt x="294632" y="168096"/>
                    </a:lnTo>
                    <a:close/>
                  </a:path>
                </a:pathLst>
              </a:custGeom>
              <a:solidFill>
                <a:srgbClr val="E30017"/>
              </a:solidFill>
              <a:ln w="9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799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41" name="Прямоугольник 40"/>
          <p:cNvSpPr/>
          <p:nvPr/>
        </p:nvSpPr>
        <p:spPr>
          <a:xfrm>
            <a:off x="147414" y="110370"/>
            <a:ext cx="8846843" cy="461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399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тал АИС НГС </a:t>
            </a:r>
            <a:r>
              <a:rPr lang="ru-RU" sz="2399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</a:t>
            </a:r>
            <a:r>
              <a:rPr lang="en-US" sz="2399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bfin.ru</a:t>
            </a:r>
            <a:endParaRPr lang="ru-RU" sz="2399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43593" y="6593826"/>
            <a:ext cx="7169096" cy="523131"/>
          </a:xfrm>
          <a:prstGeom prst="rect">
            <a:avLst/>
          </a:prstGeom>
          <a:noFill/>
        </p:spPr>
        <p:txBody>
          <a:bodyPr wrap="square" lIns="91349" tIns="45676" rIns="91349" bIns="45676" rtlCol="0">
            <a:spAutoFit/>
          </a:bodyPr>
          <a:lstStyle/>
          <a:p>
            <a:pPr>
              <a:defRPr/>
            </a:pP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сультации </a:t>
            </a: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техническая поддержка:  </a:t>
            </a:r>
          </a:p>
          <a:p>
            <a:pPr>
              <a:defRPr/>
            </a:pP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л. </a:t>
            </a:r>
            <a:r>
              <a:rPr lang="ru-RU" sz="14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 800 30 20 100, </a:t>
            </a: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лектронный </a:t>
            </a: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дрес: </a:t>
            </a:r>
            <a:r>
              <a:rPr lang="en-US" sz="14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sbsupport@mspbank.ru</a:t>
            </a:r>
            <a:endParaRPr lang="ru-RU" sz="1400" b="1" kern="0" dirty="0">
              <a:solidFill>
                <a:srgbClr val="ED1B3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070688" y="1026237"/>
            <a:ext cx="5289696" cy="646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99" dirty="0" smtClean="0">
                <a:solidFill>
                  <a:srgbClr val="0071B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шагов </a:t>
            </a:r>
            <a:r>
              <a:rPr lang="ru-RU" sz="1799" dirty="0">
                <a:solidFill>
                  <a:srgbClr val="0071B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получения кредита через портал АИС </a:t>
            </a:r>
            <a:r>
              <a:rPr lang="ru-RU" sz="1799" dirty="0" smtClean="0">
                <a:solidFill>
                  <a:srgbClr val="0071B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ГС</a:t>
            </a:r>
            <a:endParaRPr lang="ru-RU" sz="1799" dirty="0">
              <a:solidFill>
                <a:srgbClr val="0071B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1166379" y="1709145"/>
            <a:ext cx="8749876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443593" y="843612"/>
            <a:ext cx="627095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0" b="1" dirty="0">
                <a:solidFill>
                  <a:srgbClr val="FF6E6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ru-RU" sz="6000" b="1" dirty="0">
              <a:solidFill>
                <a:srgbClr val="FF6E6E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8713682" y="6119372"/>
            <a:ext cx="12025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тал АИС НСГ:</a:t>
            </a:r>
            <a:endParaRPr lang="ru-RU" sz="10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6" name="Picture 2" descr="http://qrcoder.ru/code/?https%3A%2F%2Fwww.youtube.com%2Fwatch%3Fv%3DtZOI_yoRkFE%26list%3DPLwaTnG1YZVNHfWZN3An74wuOiLkNTPPvb%26index%3D1&amp;4&amp;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891" y="6431891"/>
            <a:ext cx="820371" cy="1031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7629891" y="6031781"/>
            <a:ext cx="9509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гистрация </a:t>
            </a:r>
          </a:p>
          <a:p>
            <a:r>
              <a:rPr lang="ru-RU" sz="10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АИС НГС:</a:t>
            </a:r>
            <a:endParaRPr lang="ru-RU" sz="10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3058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452" y="2378148"/>
            <a:ext cx="3666548" cy="153818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45066" y="4134900"/>
            <a:ext cx="454189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300" dirty="0" smtClean="0">
                <a:solidFill>
                  <a:srgbClr val="0071BD"/>
                </a:solidFill>
                <a:latin typeface="Golos UI"/>
                <a:ea typeface="Golos Text VF DemiBold" pitchFamily="2" charset="0"/>
                <a:cs typeface="Golos UI Medium" panose="020B0604020202020204" pitchFamily="34" charset="-52"/>
              </a:rPr>
              <a:t>Спасибо за внимание!</a:t>
            </a:r>
            <a:endParaRPr lang="ru-RU" sz="3300" dirty="0">
              <a:solidFill>
                <a:srgbClr val="0071BD"/>
              </a:solidFill>
              <a:latin typeface="Golos UI"/>
              <a:ea typeface="Golos Text VF DemiBold" pitchFamily="2" charset="0"/>
              <a:cs typeface="Golos UI Medium" panose="020B0604020202020204" pitchFamily="34" charset="-5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36042" y="5087947"/>
            <a:ext cx="4601276" cy="1169462"/>
          </a:xfrm>
          <a:prstGeom prst="rect">
            <a:avLst/>
          </a:prstGeom>
          <a:noFill/>
        </p:spPr>
        <p:txBody>
          <a:bodyPr wrap="square" lIns="91349" tIns="45676" rIns="91349" bIns="45676" rtlCol="0">
            <a:spAutoFit/>
          </a:bodyPr>
          <a:lstStyle/>
          <a:p>
            <a:pPr>
              <a:defRPr/>
            </a:pP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сультации </a:t>
            </a: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техническая поддержка:  </a:t>
            </a:r>
          </a:p>
          <a:p>
            <a:pPr>
              <a:defRPr/>
            </a:pP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л. </a:t>
            </a:r>
            <a:r>
              <a:rPr lang="ru-RU" sz="14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 800 30 20 100, </a:t>
            </a: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лектронный </a:t>
            </a: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дрес: </a:t>
            </a:r>
            <a:r>
              <a:rPr lang="en-US" sz="1400" b="1" kern="0" dirty="0" smtClean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msbsupport@mspbank.ru</a:t>
            </a:r>
            <a:endParaRPr lang="ru-RU" sz="1400" b="1" kern="0" dirty="0" smtClean="0">
              <a:solidFill>
                <a:srgbClr val="ED1B3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endParaRPr lang="ru-RU" sz="1400" b="1" kern="0" dirty="0">
              <a:solidFill>
                <a:srgbClr val="ED1B3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 b="1" kern="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ww.mspbank.ru</a:t>
            </a:r>
            <a:endParaRPr lang="ru-RU" sz="1400" b="1" kern="0" dirty="0">
              <a:solidFill>
                <a:prstClr val="black">
                  <a:lumMod val="65000"/>
                  <a:lumOff val="3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97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8832" y="237436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П</a:t>
            </a:r>
            <a:r>
              <a:rPr lang="ru-RU" sz="24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оддержка </a:t>
            </a: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субъектов МСП </a:t>
            </a:r>
            <a:b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16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Программы стимулирования кредитования субъектов МСП</a:t>
            </a:r>
          </a:p>
          <a:p>
            <a:pPr fontAlgn="auto">
              <a:spcAft>
                <a:spcPts val="0"/>
              </a:spcAft>
            </a:pPr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99135" y="4208226"/>
            <a:ext cx="527122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Сведения о заемщике внесены в Единый Реестр субъектов МСП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Заемщик не относится к субъектам МСП, указанным в части 3 и 4* статьи 14 Федерального закона от 24.07.2007 № 209-ФЗ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Заемщик не связан прямо или через учредителей с долей участи в уставном капитале более 25% с иными юридическими лицами, не относящимися к категории субъектов МСП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Отсутствие возбужденного производства по делу о несостоятельности (банкротстве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Отсутствие нерезидентов среди лиц, входящих в цепочку собственников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044552" y="2003000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044552" y="2468905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843161" y="1455575"/>
            <a:ext cx="3904928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о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т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0 тыс. 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00 млн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руб.</a:t>
            </a:r>
          </a:p>
          <a:p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                          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854011" y="1945683"/>
            <a:ext cx="2484721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30.12.2022</a:t>
            </a:r>
            <a:endParaRPr lang="ru-RU" sz="16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5987402" y="1508819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496A2B62-1B9A-B24D-844B-DD1823BA1CD2}"/>
              </a:ext>
            </a:extLst>
          </p:cNvPr>
          <p:cNvSpPr/>
          <p:nvPr/>
        </p:nvSpPr>
        <p:spPr>
          <a:xfrm>
            <a:off x="8762090" y="245102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30231" y="1730239"/>
            <a:ext cx="4962161" cy="1992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4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Инвестиционные цели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– кредиты для создания и/или приобретения </a:t>
            </a:r>
            <a:r>
              <a:rPr lang="ru-RU" sz="1000" dirty="0">
                <a:latin typeface="Century Gothic" panose="020B0502020202020204" pitchFamily="34" charset="0"/>
                <a:cs typeface="Helvetica" panose="020B0604020202020204" pitchFamily="34" charset="0"/>
              </a:rPr>
              <a:t>(сооружения, изготовления, достройки, дооборудования, реконструкции, модернизации и технического перевооружения) основных средств (включая строительство, реконструкцию, модернизацию объектов капитального строительства, в том числе выполнение инженерных изысканий, подготовку проектной документации для их строительства, реконструкции, модернизации) </a:t>
            </a:r>
            <a:endParaRPr lang="en-US" sz="1000" dirty="0" smtClean="0"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4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</a:t>
            </a:r>
            <a:r>
              <a:rPr lang="ru-RU" sz="14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оборотных </a:t>
            </a:r>
            <a:r>
              <a:rPr lang="ru-RU" sz="14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4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звитие предпринимательской деятельности</a:t>
            </a:r>
          </a:p>
          <a:p>
            <a:pPr>
              <a:spcAft>
                <a:spcPts val="300"/>
              </a:spcAft>
              <a:buClr>
                <a:srgbClr val="F93458"/>
              </a:buClr>
            </a:pPr>
            <a:endParaRPr lang="ru-RU" sz="1200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1348" y="3943538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азовые требования 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74843" y="1283557"/>
            <a:ext cx="20120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 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839385" y="1987000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bject 42"/>
          <p:cNvSpPr txBox="1"/>
          <p:nvPr/>
        </p:nvSpPr>
        <p:spPr>
          <a:xfrm>
            <a:off x="6116159" y="3567689"/>
            <a:ext cx="4443678" cy="7412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769620" lvl="0"/>
            <a:r>
              <a:rPr lang="ru-RU" sz="1100" b="1" spc="5" dirty="0">
                <a:latin typeface="Century Gothic" panose="020B0502020202020204" pitchFamily="34" charset="0"/>
                <a:cs typeface="Segoe UI"/>
              </a:rPr>
              <a:t>МСП</a:t>
            </a:r>
            <a:r>
              <a:rPr lang="ru-RU" sz="1100" b="1" spc="10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b="1" spc="-5" dirty="0">
                <a:latin typeface="Century Gothic" panose="020B0502020202020204" pitchFamily="34" charset="0"/>
                <a:cs typeface="Segoe UI"/>
              </a:rPr>
              <a:t>Б</a:t>
            </a:r>
            <a:r>
              <a:rPr lang="ru-RU" sz="1100" b="1" spc="5" dirty="0">
                <a:latin typeface="Century Gothic" panose="020B0502020202020204" pitchFamily="34" charset="0"/>
                <a:cs typeface="Segoe UI"/>
              </a:rPr>
              <a:t>а</a:t>
            </a:r>
            <a:r>
              <a:rPr lang="ru-RU" sz="1100" b="1" spc="-5" dirty="0">
                <a:latin typeface="Century Gothic" panose="020B0502020202020204" pitchFamily="34" charset="0"/>
                <a:cs typeface="Segoe UI"/>
              </a:rPr>
              <a:t>н</a:t>
            </a:r>
            <a:r>
              <a:rPr lang="ru-RU" sz="1100" b="1" dirty="0">
                <a:latin typeface="Century Gothic" panose="020B0502020202020204" pitchFamily="34" charset="0"/>
                <a:cs typeface="Segoe UI"/>
              </a:rPr>
              <a:t>к</a:t>
            </a:r>
            <a:r>
              <a:rPr lang="ru-RU" sz="1100" b="1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пред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с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тав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л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яе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т к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ред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и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ты</a:t>
            </a:r>
            <a:r>
              <a:rPr lang="ru-RU" sz="1100" spc="-20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ко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не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ч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ны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з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а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е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щ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и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кам</a:t>
            </a:r>
            <a:r>
              <a:rPr lang="ru-RU" sz="1100" spc="-25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п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</a:t>
            </a:r>
            <a:r>
              <a:rPr lang="ru-RU" sz="1100" spc="10" dirty="0"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1100" spc="5" dirty="0">
                <a:latin typeface="Century Gothic" panose="020B0502020202020204" pitchFamily="34" charset="0"/>
                <a:cs typeface="Segoe UI"/>
              </a:rPr>
              <a:t>у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сл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в</a:t>
            </a:r>
            <a:r>
              <a:rPr lang="ru-RU" sz="1100" spc="-10" dirty="0">
                <a:latin typeface="Century Gothic" panose="020B0502020202020204" pitchFamily="34" charset="0"/>
                <a:cs typeface="Segoe UI"/>
              </a:rPr>
              <a:t>и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я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 П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р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гр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а</a:t>
            </a:r>
            <a:r>
              <a:rPr lang="ru-RU" sz="1100" spc="5" dirty="0">
                <a:latin typeface="Century Gothic" panose="020B0502020202020204" pitchFamily="34" charset="0"/>
                <a:cs typeface="Segoe UI"/>
              </a:rPr>
              <a:t>м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мы</a:t>
            </a:r>
          </a:p>
          <a:p>
            <a:pPr marL="38735" marR="5715" lvl="0">
              <a:spcBef>
                <a:spcPts val="464"/>
              </a:spcBef>
            </a:pPr>
            <a:r>
              <a:rPr lang="ru-RU" sz="1100" b="1" spc="5" dirty="0">
                <a:latin typeface="Century Gothic" panose="020B0502020202020204" pitchFamily="34" charset="0"/>
                <a:cs typeface="Segoe UI"/>
              </a:rPr>
              <a:t>МСП Банк </a:t>
            </a:r>
            <a:r>
              <a:rPr lang="ru-RU" sz="1100" dirty="0">
                <a:latin typeface="Century Gothic" panose="020B0502020202020204" pitchFamily="34" charset="0"/>
                <a:cs typeface="Segoe UI"/>
              </a:rPr>
              <a:t>обращается в Банк России </a:t>
            </a:r>
            <a:r>
              <a:rPr lang="ru-RU" sz="1100" spc="-5" dirty="0">
                <a:latin typeface="Century Gothic" panose="020B0502020202020204" pitchFamily="34" charset="0"/>
                <a:cs typeface="Segoe UI"/>
              </a:rPr>
              <a:t>для получения </a:t>
            </a:r>
            <a:r>
              <a:rPr lang="ru-RU" sz="1100" spc="-5" dirty="0" smtClean="0">
                <a:latin typeface="Century Gothic" panose="020B0502020202020204" pitchFamily="34" charset="0"/>
                <a:cs typeface="Segoe UI"/>
              </a:rPr>
              <a:t>фондирования</a:t>
            </a:r>
            <a:endParaRPr lang="ru-RU" sz="1100" dirty="0"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971790" y="5371987"/>
            <a:ext cx="453663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just"/>
            <a:r>
              <a:rPr lang="ru-RU" sz="700" spc="-10" dirty="0" smtClean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* Указанное </a:t>
            </a:r>
            <a:r>
              <a:rPr lang="ru-RU" sz="700" spc="-1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требование не распространяется на субъектов МСП: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осуществляющих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в качестве основного вида деятельности предпринимательскую деятельность в сфере общественного питания (в рамках классов 56 и 55 раздела I «Деятельность гостиниц и предприятий общественного питания» ОКВЭД)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осуществляющи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е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в качестве основного вида деятельности предпринимательскую деятельность: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в сфере розничной и (или) оптовой торговли, при условии, что субъект МСП зарегистрирован и (или) осуществляет такую деятельность на территориях </a:t>
            </a:r>
            <a:r>
              <a:rPr lang="ru-RU" sz="700" u="sng" dirty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ДФО, СКФО, Республики Крым или г. Севастополя, Арктической зоны</a:t>
            </a:r>
          </a:p>
          <a:p>
            <a:pPr marL="84138" indent="-71438" algn="just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Segoe UI"/>
              </a:rPr>
              <a:t>в сфере розничной торговли при условии, что субъект малого предпринимательства является микропредприятием</a:t>
            </a:r>
          </a:p>
          <a:p>
            <a:pPr marL="12700" algn="just"/>
            <a:endParaRPr lang="ru-RU" sz="700" dirty="0">
              <a:solidFill>
                <a:prstClr val="black"/>
              </a:solidFill>
              <a:latin typeface="Century Gothic" panose="020B0502020202020204" pitchFamily="34" charset="0"/>
              <a:cs typeface="Segoe UI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183457"/>
            <a:ext cx="1658535" cy="356807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6911159" y="2391961"/>
            <a:ext cx="3847780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2%/     11,5%/   10,5%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ля 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микро/  малых/  средних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032348" y="4653513"/>
            <a:ext cx="437698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just"/>
            <a:r>
              <a:rPr lang="ru-RU" sz="900" u="sng" dirty="0" smtClean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ОКВЭД</a:t>
            </a:r>
          </a:p>
          <a:p>
            <a:pPr marL="12700" algn="just"/>
            <a:r>
              <a:rPr lang="ru-RU" sz="900" u="sng" dirty="0" smtClean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Финансирование субъекта МСП возможно по всем ОКВЭД за исключение </a:t>
            </a:r>
            <a:r>
              <a:rPr lang="ru-RU" sz="900" u="sng" dirty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указанным </a:t>
            </a:r>
            <a:r>
              <a:rPr lang="ru-RU" sz="900" u="sng" dirty="0" smtClean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в </a:t>
            </a:r>
            <a:r>
              <a:rPr lang="ru-RU" sz="900" u="sng" dirty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части 3 и 4* статьи 14 Федерального закона от 24.07.2007 № </a:t>
            </a:r>
            <a:r>
              <a:rPr lang="ru-RU" sz="900" u="sng" dirty="0" smtClean="0">
                <a:solidFill>
                  <a:srgbClr val="0070C0"/>
                </a:solidFill>
                <a:latin typeface="Century Gothic" panose="020B0502020202020204" pitchFamily="34" charset="0"/>
                <a:cs typeface="Segoe UI"/>
              </a:rPr>
              <a:t>209-ФЗ (добыча полезных ископаемых и подакцизная деятельность)</a:t>
            </a:r>
            <a:endParaRPr lang="ru-RU" sz="900" u="sng" dirty="0">
              <a:solidFill>
                <a:srgbClr val="0070C0"/>
              </a:solidFill>
              <a:latin typeface="Century Gothic" panose="020B0502020202020204" pitchFamily="34" charset="0"/>
              <a:cs typeface="Segoe U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042838" y="3202530"/>
            <a:ext cx="4245339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spcAft>
                <a:spcPts val="300"/>
              </a:spcAft>
            </a:pPr>
            <a:r>
              <a:rPr lang="ru-RU" sz="1100" b="1" dirty="0" smtClean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ксимальный срок </a:t>
            </a:r>
            <a:r>
              <a:rPr lang="ru-RU" sz="1100" dirty="0" smtClean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йствия Программы стимулирования для конечного заемщика = </a:t>
            </a:r>
            <a:r>
              <a:rPr lang="ru-RU" sz="1100" b="1" dirty="0" smtClean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 года</a:t>
            </a:r>
            <a:endParaRPr lang="ru-RU" sz="1100" b="1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528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436187"/>
            <a:ext cx="9398524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Программа субсидирования процентной</a:t>
            </a:r>
          </a:p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ставки, реализуемая Минэкономразвития</a:t>
            </a: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/>
            </a:r>
            <a:b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России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9977" y="1334428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4375" y="59342"/>
            <a:ext cx="1249683" cy="376845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144842" y="1478170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словия</a:t>
            </a: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6203717"/>
              </p:ext>
            </p:extLst>
          </p:nvPr>
        </p:nvGraphicFramePr>
        <p:xfrm>
          <a:off x="247795" y="1678852"/>
          <a:ext cx="10201922" cy="2393763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1659633">
                  <a:extLst>
                    <a:ext uri="{9D8B030D-6E8A-4147-A177-3AD203B41FA5}">
                      <a16:colId xmlns:a16="http://schemas.microsoft.com/office/drawing/2014/main" xmlns="" val="2411965636"/>
                    </a:ext>
                  </a:extLst>
                </a:gridCol>
                <a:gridCol w="8542289">
                  <a:extLst>
                    <a:ext uri="{9D8B030D-6E8A-4147-A177-3AD203B41FA5}">
                      <a16:colId xmlns:a16="http://schemas.microsoft.com/office/drawing/2014/main" xmlns="" val="1622346049"/>
                    </a:ext>
                  </a:extLst>
                </a:gridCol>
              </a:tblGrid>
              <a:tr h="400011">
                <a:tc>
                  <a:txBody>
                    <a:bodyPr/>
                    <a:lstStyle/>
                    <a:p>
                      <a:pPr marL="0" indent="0" algn="l" rtl="0" fontAlgn="ctr">
                        <a:buFont typeface="Arial" panose="020B0604020202020204" pitchFamily="34" charset="0"/>
                        <a:buNone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заемщик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54012" indent="-171450" algn="l" rtl="0" fontAlgn="ctr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убъекты МСП; </a:t>
                      </a:r>
                    </a:p>
                    <a:p>
                      <a:pPr marL="361950" indent="-179388" algn="l" rtl="0" fontAlgn="ctr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амозанятые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998789319"/>
                  </a:ext>
                </a:extLst>
              </a:tr>
              <a:tr h="687561">
                <a:tc>
                  <a:txBody>
                    <a:bodyPr/>
                    <a:lstStyle/>
                    <a:p>
                      <a:pPr marL="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цели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55600" indent="-173038" algn="l" defTabSz="1007943" rtl="0" eaLnBrk="1" fontAlgn="ctr" latinLnBrk="0" hangingPunct="1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Инвестиционные цели;</a:t>
                      </a:r>
                    </a:p>
                    <a:p>
                      <a:pPr marL="355600" indent="-173038" algn="l" defTabSz="1007943" rtl="0" eaLnBrk="1" fontAlgn="ctr" latinLnBrk="0" hangingPunct="1">
                        <a:spcAft>
                          <a:spcPts val="1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Пополнение оборотны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редств; 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  <a:p>
                      <a:pPr marL="355600" marR="0" lvl="0" indent="-173038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Рефинансирование кредита (приоритетные отрасли);</a:t>
                      </a:r>
                    </a:p>
                    <a:p>
                      <a:pPr marL="355600" marR="0" lvl="0" indent="-173038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На развитие предпринимательской деятельности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031766475"/>
                  </a:ext>
                </a:extLst>
              </a:tr>
              <a:tr h="372597">
                <a:tc>
                  <a:txBody>
                    <a:bodyPr/>
                    <a:lstStyle/>
                    <a:p>
                      <a:pPr marL="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размер кредита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от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тыс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.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млн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рублей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*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на инвестиционные цели (микропредприятия - до 200 млн. руб., малые и средние- до 500 млн. руб.) 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от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тыс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.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00 млн рублей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* на пополнение оборотны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редств (микропредприятия - до 200 млн. руб., малые и средние  - до 500 млн. руб.)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673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рок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10 лет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на инвестиционные цели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; (с непрерывным предоставлением субсидии не более 5 лет)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до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 3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лет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на пополнение оборотны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средств 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333843978"/>
                  </a:ext>
                </a:extLst>
              </a:tr>
              <a:tr h="291530">
                <a:tc>
                  <a:txBody>
                    <a:bodyPr/>
                    <a:lstStyle/>
                    <a:p>
                      <a:pPr marL="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1" kern="1200" dirty="0">
                          <a:solidFill>
                            <a:srgbClr val="2240AD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% ставка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61950" marR="0" lvl="0" indent="0" algn="l" defTabSz="100794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10,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2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5%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(ключевая ставка Банка России, действующая на дату заключения</a:t>
                      </a:r>
                      <a:r>
                        <a:rPr lang="ru-RU" sz="1000" kern="1200" baseline="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кредитного договора (соглашения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)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Helvetica" panose="020B0604020202020204" pitchFamily="34" charset="0"/>
                        </a:rPr>
                        <a:t>+ 2,75% годовых**)</a:t>
                      </a:r>
                    </a:p>
                  </a:txBody>
                  <a:tcPr marL="6177" marR="6177" marT="6177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2240A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688527727"/>
                  </a:ext>
                </a:extLst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144842" y="4166447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оритетные отрасл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-47439" y="4518009"/>
            <a:ext cx="4084225" cy="2314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ельское хозяйство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роительство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дравоохранение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разование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рабатывающее производство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Услуги в сфере туризма (внутреннего и въездного)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в области культуры, спорта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профессиональная, научная и техническая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нформация и связь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ранспортировка и хранение</a:t>
            </a:r>
          </a:p>
          <a:p>
            <a:pPr marL="411162" lvl="1" indent="-228600" defTabSz="1007943" fontAlgn="ctr">
              <a:lnSpc>
                <a:spcPts val="1100"/>
              </a:lnSpc>
              <a:spcAft>
                <a:spcPts val="300"/>
              </a:spcAft>
              <a:buClr>
                <a:srgbClr val="2240AD"/>
              </a:buClr>
              <a:buSzPct val="110000"/>
              <a:buFont typeface="+mj-lt"/>
              <a:buAutoNum type="arabicPeriod"/>
            </a:pP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одоснабжение, водоотведение, организация сбора, обработки и утилизации отходов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827236" y="4518009"/>
            <a:ext cx="5897789" cy="2339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2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гостиниц и предприятий общественного питания</a:t>
            </a:r>
          </a:p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3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в сфере бытовых услуг</a:t>
            </a:r>
          </a:p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4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изводство и распределение электроэнергии, газа и воды </a:t>
            </a: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5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 / оптовая торговля при условии заключения кредитного договора (соглашения) на инвестиционные цели</a:t>
            </a:r>
          </a:p>
          <a:p>
            <a:pPr marL="182562" lvl="1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6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 торговля на территории моногородов</a:t>
            </a: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7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/оптовая торговля на </a:t>
            </a:r>
            <a:r>
              <a:rPr lang="ru-RU" sz="10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ерритории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ФО, СКФО, </a:t>
            </a:r>
            <a:r>
              <a:rPr lang="ru-RU" sz="10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спублики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ым и </a:t>
            </a:r>
            <a:r>
              <a:rPr lang="ru-RU" sz="1000" dirty="0" err="1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.Севастополя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, Арктическая зона</a:t>
            </a: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8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зничная торговля при условии, что субъект малого предпринимательства является </a:t>
            </a:r>
            <a:r>
              <a:rPr lang="ru-RU" sz="10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икропредприятием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(за исключением случаев, указанных в </a:t>
            </a:r>
            <a:r>
              <a:rPr lang="ru-RU" sz="10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.15-18)</a:t>
            </a:r>
            <a:endParaRPr lang="ru-RU" sz="10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447675" lvl="1" indent="-266700" defTabSz="1007943" fontAlgn="ctr">
              <a:lnSpc>
                <a:spcPts val="1100"/>
              </a:lnSpc>
              <a:spcAft>
                <a:spcPts val="300"/>
              </a:spcAft>
            </a:pPr>
            <a:r>
              <a:rPr lang="ru-RU" sz="1100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9.  </a:t>
            </a: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Аренда (сдача внаем), за исключением предоставления по договорам финансовой аренды (лизинга), собственного недвижимого имущества </a:t>
            </a:r>
            <a:b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0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за исключением земельных участков, многоквартирных домов, жилых домов, квартир и иных жилых помещений) и собственного движимого имущества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44842" y="6976551"/>
            <a:ext cx="104078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Включая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едитные договоры, заключенные уполномоченными банками и заемщиками в 2019-2024 годах, условия которых приведены в соответствие 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/>
            </a:r>
            <a:b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ребованиями Программы субсидирования посредством заключения соответствующих дополнительных соглашений к этим кредитным договорам.</a:t>
            </a:r>
          </a:p>
          <a:p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Кредиты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деятельности 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едоставляются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икропредприятиям и 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амозанятым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ражданам в размере до 10 млн 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лей </a:t>
            </a: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/>
            </a:r>
            <a:b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7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 ставке до 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1.</a:t>
            </a:r>
            <a:r>
              <a:rPr lang="en-US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7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.</a:t>
            </a:r>
            <a:endParaRPr lang="ru-RU" sz="7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496A2B62-1B9A-B24D-844B-DD1823BA1CD2}"/>
              </a:ext>
            </a:extLst>
          </p:cNvPr>
          <p:cNvSpPr/>
          <p:nvPr/>
        </p:nvSpPr>
        <p:spPr>
          <a:xfrm>
            <a:off x="8762090" y="959354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2672" y="519366"/>
            <a:ext cx="1658535" cy="356807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915166" y="6819042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174959" y="6830995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</p:spTree>
    <p:extLst>
      <p:ext uri="{BB962C8B-B14F-4D97-AF65-F5344CB8AC3E}">
        <p14:creationId xmlns:p14="http://schemas.microsoft.com/office/powerpoint/2010/main" val="125425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Льготное кредитование </a:t>
            </a:r>
            <a:r>
              <a:rPr lang="ru-RU" sz="28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субъектов </a:t>
            </a:r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</a:t>
            </a:r>
            <a:r>
              <a:rPr lang="ru-RU" sz="20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совместной программы </a:t>
            </a:r>
            <a:r>
              <a:rPr lang="en-US" sz="24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1764 </a:t>
            </a:r>
            <a:r>
              <a:rPr lang="ru-RU" sz="24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и ПСК</a:t>
            </a:r>
            <a:endParaRPr lang="ru-RU" sz="2400" b="1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77313" y="4047227"/>
            <a:ext cx="4894094" cy="2316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е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 единый реестр субъектов малого и среднего предпринимательства</a:t>
            </a:r>
            <a:endParaRPr lang="ru-RU" sz="1200" dirty="0" smtClean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ату подачи заявки не менее 12 месяце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осуществляет подакцизную деятельность и добычу/реализацию полезных ископаемых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ид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и относитс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 приоритетным в рамках 1764 и ПСК (приложение №2 Программы ПСК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ходит в группу с компаниями крупного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изнеса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применяются процедуры несостоятельности (банкротства)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106488" y="977760"/>
            <a:ext cx="3837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Базовый продукт «Экспресс поддержка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8826" y="3693252"/>
            <a:ext cx="4631067" cy="264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</a:t>
            </a: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08826" y="1356903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323961" y="1268258"/>
            <a:ext cx="21946" cy="4869733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5470031" y="1734369"/>
            <a:ext cx="4987999" cy="1762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рабатывающе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изводство, в том числе производство пищевых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дукто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ервичная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 последующая (промышленная)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ереработка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300"/>
              </a:spcAft>
              <a:buClr>
                <a:srgbClr val="F93458"/>
              </a:buClr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ельскохозяйственной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дукции, в том числе в целях обеспечени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мпортозамещения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 развития 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сырьевого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экспорта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ранспортировка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хранение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стиниц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5551467" y="1376770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опустимые отрасли: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77313" y="1734369"/>
            <a:ext cx="496216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Инвестиционные цели – кредиты для создания и/или приобретения (сооружения, изготовления, достройки, дооборудования, реконструкции, модернизации и технического перевооружения) основных средств (включая строительство, реконструкцию, модернизацию объектов капитального строительства, в том числе выполнение инженерных изысканий, подготовку проектной документации для их строительства, реконструкции, модернизации) </a:t>
            </a:r>
            <a:endParaRPr lang="en-US" sz="1200" dirty="0" smtClean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51467" y="4452121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596878" y="5148662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406337" y="3496390"/>
            <a:ext cx="3974792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 млн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00/500 млн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.</a:t>
            </a: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икро/малых и средних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едприятий</a:t>
            </a: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406337" y="4117805"/>
            <a:ext cx="4051693" cy="892552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 лет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(льготный период – 5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лет. 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ечении первых 3 лет ставк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,5-4%,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атем 2 года ставка программы 1764, действующая на момент подписани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говора)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539728" y="3680941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612870" y="5669395"/>
            <a:ext cx="4885482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по кредиту</a:t>
            </a:r>
          </a:p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C00000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обсуждается индивидуально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ольшой выбор инструментов, в том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числе 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иде государственных гарантий и гарантий Корпораци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СП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26416" y="5048444"/>
            <a:ext cx="3847780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4/2,5%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ля 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микро и малых/средних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предприятий</a:t>
            </a:r>
          </a:p>
          <a:p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560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89513" y="352393"/>
            <a:ext cx="8334375" cy="4257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914400">
              <a:lnSpc>
                <a:spcPts val="23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Льготное </a:t>
            </a:r>
            <a:r>
              <a:rPr lang="ru-RU" sz="2400" b="1" dirty="0" smtClean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кредитование технологических </a:t>
            </a: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компаний</a:t>
            </a:r>
          </a:p>
          <a:p>
            <a:pPr lvl="0" defTabSz="914400">
              <a:lnSpc>
                <a:spcPts val="2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600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в рамках реализации стратегической инициативы «Взлет – от </a:t>
            </a:r>
            <a:r>
              <a:rPr lang="ru-RU" sz="1600" dirty="0" err="1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стартапа</a:t>
            </a:r>
            <a:r>
              <a:rPr lang="ru-RU" sz="1600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 до IPO»</a:t>
            </a:r>
          </a:p>
          <a:p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24713" y="2607404"/>
            <a:ext cx="527122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ыручка от 100 млн рублей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емп роста выручки за 3 года более 12%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личие права на РИД (патент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ид деятельности относится </a:t>
            </a:r>
            <a:b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 приоритетным, продукция является высокотехнологичной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лучена экспертиза </a:t>
            </a:r>
            <a:b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орпорации с участием привлеченной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рганизаци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входит в группу (как она определяется в соответствии с Международными стандартами финансовой отчетности), годовая выручка которой или, если применимо, доход которой согласно данным консолидированной финансовой отчетности составляет более 2 млрд рублей (за исключением групп, в которые входят исключительно субъекты малого и среднего предпринимательства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 заемщиком не заключены кредитные договоры (соглашения), по которым ставка кредитования субсидируется в соответствии с постановлением Правительства РФ от № 1764, а также физическим лицам, применяющим специальный налоговый режим „Налог на профессиональный доход“, по льготной ставке», постановлением Правительства РФ № 1598 Соответствие используемой при производстве и (или) создании продукции технологии согласно перечн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ысокотехнологичных направлений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044552" y="2003000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044552" y="2468905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854011" y="1324268"/>
            <a:ext cx="2891575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 млн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.</a:t>
            </a: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малых/средних предприятий</a:t>
            </a: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854011" y="1945683"/>
            <a:ext cx="2484721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 лет</a:t>
            </a:r>
            <a:endParaRPr lang="ru-RU" sz="16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844034" y="2417835"/>
            <a:ext cx="3847780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%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  <a:p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5987402" y="1508819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496A2B62-1B9A-B24D-844B-DD1823BA1CD2}"/>
              </a:ext>
            </a:extLst>
          </p:cNvPr>
          <p:cNvSpPr/>
          <p:nvPr/>
        </p:nvSpPr>
        <p:spPr>
          <a:xfrm>
            <a:off x="8625345" y="596671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30230" y="1736931"/>
            <a:ext cx="4962161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инвестиционные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цел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оборотных средств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30230" y="2342716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рет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емщика: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74842" y="1371810"/>
            <a:ext cx="20120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 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839385" y="1987000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6510" y="153970"/>
            <a:ext cx="1658535" cy="356807"/>
          </a:xfrm>
          <a:prstGeom prst="rect">
            <a:avLst/>
          </a:prstGeom>
        </p:spPr>
      </p:pic>
      <p:sp>
        <p:nvSpPr>
          <p:cNvPr id="25" name="Скругленный прямоугольник 24"/>
          <p:cNvSpPr/>
          <p:nvPr/>
        </p:nvSpPr>
        <p:spPr>
          <a:xfrm>
            <a:off x="6261812" y="4396902"/>
            <a:ext cx="4078615" cy="2291515"/>
          </a:xfrm>
          <a:prstGeom prst="roundRect">
            <a:avLst>
              <a:gd name="adj" fmla="val 3744"/>
            </a:avLst>
          </a:prstGeom>
          <a:gradFill>
            <a:gsLst>
              <a:gs pos="17000">
                <a:srgbClr val="7452AD"/>
              </a:gs>
              <a:gs pos="75000">
                <a:srgbClr val="33244C"/>
              </a:gs>
            </a:gsLst>
            <a:lin ang="360000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8B6BEE"/>
              </a:solidFill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6501690" y="6064868"/>
            <a:ext cx="3596216" cy="291867"/>
            <a:chOff x="6353175" y="3276600"/>
            <a:chExt cx="2476500" cy="419100"/>
          </a:xfrm>
        </p:grpSpPr>
        <p:sp>
          <p:nvSpPr>
            <p:cNvPr id="27" name="Скругленный прямоугольник 26"/>
            <p:cNvSpPr/>
            <p:nvPr/>
          </p:nvSpPr>
          <p:spPr>
            <a:xfrm>
              <a:off x="6353175" y="3276600"/>
              <a:ext cx="2476500" cy="419100"/>
            </a:xfrm>
            <a:prstGeom prst="roundRect">
              <a:avLst/>
            </a:prstGeom>
            <a:solidFill>
              <a:srgbClr val="FFD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6353175" y="3314324"/>
              <a:ext cx="2476500" cy="3745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00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Прием заявок на МСП.РФ</a:t>
              </a:r>
            </a:p>
          </p:txBody>
        </p:sp>
      </p:grpSp>
      <p:pic>
        <p:nvPicPr>
          <p:cNvPr id="29" name="Рисунок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565" y="4221641"/>
            <a:ext cx="4050516" cy="212496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9513" y="700760"/>
            <a:ext cx="83600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dirty="0">
                <a:solidFill>
                  <a:srgbClr val="0225A3"/>
                </a:solidFill>
                <a:latin typeface="Century Gothic" panose="020B0502020202020204" pitchFamily="34" charset="0"/>
              </a:rPr>
              <a:t>Данная программа действует в </a:t>
            </a:r>
            <a:r>
              <a:rPr lang="ru-RU" sz="12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рамках Постановления </a:t>
            </a:r>
            <a:r>
              <a:rPr lang="ru-RU" sz="1200" dirty="0">
                <a:solidFill>
                  <a:srgbClr val="0225A3"/>
                </a:solidFill>
                <a:latin typeface="Century Gothic" panose="020B0502020202020204" pitchFamily="34" charset="0"/>
              </a:rPr>
              <a:t>Правительства </a:t>
            </a:r>
            <a:r>
              <a:rPr lang="ru-RU" sz="12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РФ №</a:t>
            </a:r>
            <a:r>
              <a:rPr lang="ru-RU" sz="1200" dirty="0">
                <a:solidFill>
                  <a:srgbClr val="0225A3"/>
                </a:solidFill>
                <a:latin typeface="Century Gothic" panose="020B0502020202020204" pitchFamily="34" charset="0"/>
              </a:rPr>
              <a:t>469 от </a:t>
            </a:r>
            <a:r>
              <a:rPr lang="ru-RU" sz="12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25.03.2022 года</a:t>
            </a:r>
            <a:endParaRPr lang="ru-RU" sz="12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954971" y="2898423"/>
            <a:ext cx="4210052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по кредиту</a:t>
            </a:r>
          </a:p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C00000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обсуждается индивидуально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ольшой выбор инструментов, в том числе</a:t>
            </a:r>
            <a:b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 виде государственных гарантий и гарантий Корпорации МСП.</a:t>
            </a:r>
          </a:p>
        </p:txBody>
      </p:sp>
    </p:spTree>
    <p:extLst>
      <p:ext uri="{BB962C8B-B14F-4D97-AF65-F5344CB8AC3E}">
        <p14:creationId xmlns:p14="http://schemas.microsoft.com/office/powerpoint/2010/main" val="280944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115210" y="353227"/>
            <a:ext cx="8334375" cy="4257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914400">
              <a:lnSpc>
                <a:spcPts val="23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Льготное </a:t>
            </a:r>
            <a:r>
              <a:rPr lang="ru-RU" sz="2400" b="1" dirty="0" smtClean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кредитование технологических компаний </a:t>
            </a:r>
            <a:r>
              <a:rPr lang="ru-RU" sz="1600" dirty="0" smtClean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в </a:t>
            </a:r>
            <a:r>
              <a:rPr lang="ru-RU" sz="1600" dirty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рамках реализации </a:t>
            </a:r>
            <a:r>
              <a:rPr lang="ru-RU" sz="1600" dirty="0" smtClean="0">
                <a:solidFill>
                  <a:srgbClr val="0225A3"/>
                </a:solidFill>
                <a:latin typeface="Century Gothic" panose="020B0502020202020204" pitchFamily="34" charset="0"/>
                <a:ea typeface="+mn-ea"/>
                <a:cs typeface="+mn-cs"/>
              </a:rPr>
              <a:t>инициативы с Московским инновационным кластером</a:t>
            </a:r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194337" y="3793974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194337" y="4310827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7003797" y="3115242"/>
            <a:ext cx="2891575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00 млн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.</a:t>
            </a: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малых/средних предприятий</a:t>
            </a: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003797" y="3736657"/>
            <a:ext cx="3512257" cy="523220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7 лет (3 года срок субсидии)</a:t>
            </a:r>
            <a:endParaRPr lang="ru-RU" sz="16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6137188" y="3299793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496A2B62-1B9A-B24D-844B-DD1823BA1CD2}"/>
              </a:ext>
            </a:extLst>
          </p:cNvPr>
          <p:cNvSpPr/>
          <p:nvPr/>
        </p:nvSpPr>
        <p:spPr>
          <a:xfrm>
            <a:off x="8576354" y="1009430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104757" y="1147051"/>
            <a:ext cx="20120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 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839385" y="1987000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6510" y="146575"/>
            <a:ext cx="1658535" cy="35680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15210" y="7031111"/>
            <a:ext cx="74689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00" dirty="0">
                <a:solidFill>
                  <a:srgbClr val="0225A3"/>
                </a:solidFill>
                <a:latin typeface="Century Gothic" panose="020B0502020202020204" pitchFamily="34" charset="0"/>
              </a:rPr>
              <a:t>Данная программа действует в </a:t>
            </a:r>
            <a:r>
              <a:rPr lang="ru-RU" sz="10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рамках Постановления </a:t>
            </a:r>
            <a:r>
              <a:rPr lang="ru-RU" sz="1000" dirty="0">
                <a:solidFill>
                  <a:srgbClr val="0225A3"/>
                </a:solidFill>
                <a:latin typeface="Century Gothic" panose="020B0502020202020204" pitchFamily="34" charset="0"/>
              </a:rPr>
              <a:t>Правительства </a:t>
            </a:r>
            <a:r>
              <a:rPr lang="ru-RU" sz="10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Москвы </a:t>
            </a:r>
            <a:r>
              <a:rPr lang="ru-RU" sz="1000" dirty="0">
                <a:solidFill>
                  <a:srgbClr val="0225A3"/>
                </a:solidFill>
                <a:latin typeface="Century Gothic" panose="020B0502020202020204" pitchFamily="34" charset="0"/>
              </a:rPr>
              <a:t>от 30 марта 2022 г. № 499-ПП , </a:t>
            </a:r>
            <a:endParaRPr lang="ru-RU" sz="1000" dirty="0" smtClean="0">
              <a:solidFill>
                <a:srgbClr val="0225A3"/>
              </a:solidFill>
              <a:latin typeface="Century Gothic" panose="020B0502020202020204" pitchFamily="34" charset="0"/>
            </a:endParaRPr>
          </a:p>
          <a:p>
            <a:pPr lvl="0"/>
            <a:r>
              <a:rPr lang="ru-RU" sz="10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от </a:t>
            </a:r>
            <a:r>
              <a:rPr lang="ru-RU" sz="1000" dirty="0">
                <a:solidFill>
                  <a:srgbClr val="0225A3"/>
                </a:solidFill>
                <a:latin typeface="Century Gothic" panose="020B0502020202020204" pitchFamily="34" charset="0"/>
              </a:rPr>
              <a:t>23 марта 2022 г. № 445-ПП  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104757" y="4836101"/>
            <a:ext cx="4210052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по кредиту</a:t>
            </a:r>
          </a:p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C00000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обсуждается индивидуально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ольшой выбор инструментов, в том числе</a:t>
            </a:r>
            <a:b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 виде государственных гарантий и гарантий Корпорации МСП.</a:t>
            </a:r>
          </a:p>
        </p:txBody>
      </p:sp>
      <p:sp>
        <p:nvSpPr>
          <p:cNvPr id="31" name="object 9">
            <a:extLst>
              <a:ext uri="{FF2B5EF4-FFF2-40B4-BE49-F238E27FC236}">
                <a16:creationId xmlns:a16="http://schemas.microsoft.com/office/drawing/2014/main" xmlns="" id="{45C3CCC1-5236-44AF-B3DB-28400CEBC888}"/>
              </a:ext>
            </a:extLst>
          </p:cNvPr>
          <p:cNvSpPr txBox="1"/>
          <p:nvPr/>
        </p:nvSpPr>
        <p:spPr>
          <a:xfrm>
            <a:off x="268645" y="1136388"/>
            <a:ext cx="4893371" cy="57066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600"/>
              </a:spcBef>
              <a:spcAft>
                <a:spcPts val="6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к заемщику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рганизация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ботает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менее года на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омент </a:t>
            </a: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/>
            </a:r>
            <a:b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дачи заявки </a:t>
            </a:r>
            <a:endParaRPr sz="11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marR="1295400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сновной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КВЭД: 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ука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, 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Т,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мышленность</a:t>
            </a:r>
            <a:endParaRPr sz="11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омпания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является налогоплательщиком Москвы</a:t>
            </a:r>
            <a:endParaRPr sz="11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лощадка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территории г. Москвы (земельный участок, объект  капитального строительства в собственности/аренде на территории столицы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</a:t>
            </a:r>
            <a:endParaRPr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2700">
              <a:spcBef>
                <a:spcPts val="600"/>
              </a:spcBef>
              <a:spcAft>
                <a:spcPts val="6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к создаваемому продукту</a:t>
            </a:r>
          </a:p>
          <a:p>
            <a:pPr marL="177800" indent="-165100">
              <a:spcBef>
                <a:spcPts val="300"/>
              </a:spcBef>
              <a:buFontTx/>
              <a:buChar char="•"/>
              <a:tabLst>
                <a:tab pos="240665" algn="l"/>
                <a:tab pos="241300" algn="l"/>
              </a:tabLst>
            </a:pPr>
            <a:r>
              <a:rPr lang="ru-RU" sz="1100" b="1" spc="-15" dirty="0" smtClean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Товары</a:t>
            </a:r>
            <a:r>
              <a:rPr sz="1100" b="1" spc="-30" dirty="0" smtClean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 </a:t>
            </a:r>
            <a:r>
              <a:rPr lang="ru-RU" sz="1100" b="1" spc="-30" dirty="0" smtClean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народного потребления</a:t>
            </a:r>
            <a:endParaRPr sz="1100" b="1" dirty="0">
              <a:solidFill>
                <a:prstClr val="black"/>
              </a:solidFill>
              <a:latin typeface="Century Gothic" panose="020B0502020202020204" pitchFamily="34" charset="0"/>
              <a:cs typeface="TT Firs Neue"/>
            </a:endParaRPr>
          </a:p>
          <a:p>
            <a:pPr marL="171450" marR="55880" lvl="1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овар включен в перечень товаров народного </a:t>
            </a:r>
            <a:b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</a:b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требления</a:t>
            </a:r>
          </a:p>
          <a:p>
            <a:pPr marL="0" marR="55880" lvl="1">
              <a:spcBef>
                <a:spcPts val="300"/>
              </a:spcBef>
              <a:tabLst>
                <a:tab pos="508000" algn="l"/>
              </a:tabLst>
            </a:pPr>
            <a:r>
              <a:rPr lang="ru-RU" sz="1100" spc="-25" dirty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Или</a:t>
            </a:r>
          </a:p>
          <a:p>
            <a:pPr marL="177800" indent="-165100">
              <a:spcBef>
                <a:spcPts val="300"/>
              </a:spcBef>
              <a:buFontTx/>
              <a:buChar char="•"/>
              <a:tabLst>
                <a:tab pos="240665" algn="l"/>
                <a:tab pos="241300" algn="l"/>
              </a:tabLst>
            </a:pPr>
            <a:r>
              <a:rPr lang="ru-RU" sz="11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Импортозамещающие</a:t>
            </a:r>
            <a:r>
              <a:rPr sz="1100" b="1" spc="-100" dirty="0" smtClean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 </a:t>
            </a:r>
            <a:r>
              <a:rPr lang="ru-RU" sz="1100" b="1" spc="-100" dirty="0" smtClean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 товары</a:t>
            </a:r>
            <a:endParaRPr sz="1100" b="1" dirty="0">
              <a:solidFill>
                <a:prstClr val="black"/>
              </a:solidFill>
              <a:latin typeface="Century Gothic" panose="020B0502020202020204" pitchFamily="34" charset="0"/>
              <a:cs typeface="TT Firs Neue"/>
            </a:endParaRPr>
          </a:p>
          <a:p>
            <a:pPr marL="171450" marR="55880" lvl="1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дукт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ходится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</a:t>
            </a: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писке Отраслевых</a:t>
            </a:r>
            <a:r>
              <a:rPr lang="en-US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ланов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 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мпортозамещения Минпромторга</a:t>
            </a:r>
            <a:r>
              <a:rPr lang="en-US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Ф</a:t>
            </a:r>
          </a:p>
          <a:p>
            <a:pPr marL="171450" marR="55880" lvl="1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дукт находится в списке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ехнологий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СПИК 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споряжение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авительства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Ф №3143-р от 28.11.20)</a:t>
            </a:r>
            <a:endParaRPr lang="ru-RU" sz="11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marR="55880" lvl="1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омпания находится в перечне аккредитованных компаний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инцифры </a:t>
            </a: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оссии</a:t>
            </a:r>
            <a:endParaRPr sz="11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marR="55880" lvl="1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счетный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оэффициент</a:t>
            </a:r>
            <a:r>
              <a:rPr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«Импорт / производство в России» 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– </a:t>
            </a: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выше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</a:p>
          <a:p>
            <a:pPr marL="12700">
              <a:spcBef>
                <a:spcPts val="600"/>
              </a:spcBef>
              <a:spcAft>
                <a:spcPts val="600"/>
              </a:spcAft>
              <a:tabLst>
                <a:tab pos="265430" algn="l"/>
              </a:tabLs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инансовые требования</a:t>
            </a:r>
          </a:p>
          <a:p>
            <a:pPr marL="171450" marR="55880" lvl="1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ля </a:t>
            </a: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обственных средств в проекте – не менее 25%</a:t>
            </a:r>
          </a:p>
          <a:p>
            <a:pPr marL="171450" marR="55880" lvl="1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оимость чистых активов, размер чистой прибыли </a:t>
            </a:r>
            <a:r>
              <a:rPr lang="en-US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&gt;0</a:t>
            </a:r>
            <a:endParaRPr sz="11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044748" y="2321890"/>
            <a:ext cx="402638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lvl="0">
              <a:spcBef>
                <a:spcPts val="5"/>
              </a:spcBef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лучатели поддержки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- </a:t>
            </a:r>
            <a:r>
              <a:rPr lang="ru-RU" sz="1200" spc="-5" dirty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субъекты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МСП, </a:t>
            </a:r>
            <a:r>
              <a:rPr lang="ru-RU" sz="1200" spc="5" dirty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реализующие</a:t>
            </a:r>
            <a:r>
              <a:rPr lang="ru-RU" sz="1200" spc="-25" dirty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инвестиционные</a:t>
            </a:r>
            <a:r>
              <a:rPr lang="ru-RU" sz="1200" spc="-25" dirty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TT Firs Neue"/>
              </a:rPr>
              <a:t>программы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007882" y="4229999"/>
            <a:ext cx="3847780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3%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ля малых/средних предприятий</a:t>
            </a:r>
          </a:p>
          <a:p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953582" y="1533393"/>
            <a:ext cx="461146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55880" lvl="1" indent="-171450">
              <a:spcBef>
                <a:spcPts val="3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40665" algn="l"/>
                <a:tab pos="241300" algn="l"/>
              </a:tabLst>
            </a:pPr>
            <a:r>
              <a:rPr lang="ru-RU" sz="11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едит  на инвестиционные цели. Доля расходов на оборотные средства при запуске проекта не более 30% (закупка сырья, материалов)</a:t>
            </a:r>
          </a:p>
        </p:txBody>
      </p:sp>
      <p:pic>
        <p:nvPicPr>
          <p:cNvPr id="35" name="Рисунок 13">
            <a:extLst>
              <a:ext uri="{FF2B5EF4-FFF2-40B4-BE49-F238E27FC236}">
                <a16:creationId xmlns:a16="http://schemas.microsoft.com/office/drawing/2014/main" xmlns="" id="{EA13EB7A-F2E9-4895-95F4-F56FF6174C2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6510" y="566079"/>
            <a:ext cx="1537489" cy="317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6194337" y="6101509"/>
            <a:ext cx="4334841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ем заявок: </a:t>
            </a: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через Московский инновационный кластер    </a:t>
            </a:r>
            <a:endParaRPr lang="ru-RU" sz="1400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7997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Льготное кредитование </a:t>
            </a:r>
            <a:r>
              <a:rPr lang="ru-RU" sz="28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субъектов </a:t>
            </a:r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</a:t>
            </a:r>
            <a:r>
              <a:rPr lang="ru-RU" sz="20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программы Правительства Москвы и Удмуртии</a:t>
            </a:r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62277" y="1081362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граммы Правительства Москвы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01926" y="2988310"/>
            <a:ext cx="4894094" cy="13157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 </a:t>
            </a:r>
            <a:endParaRPr lang="ru-RU" sz="1200" dirty="0" smtClean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омпания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является налогоплательщиком Москвы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ид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и относитс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 приоритетным в рамках соглашения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гистрации Заемщика на дату подачи заявки не менее 12 месяцев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62277" y="1378728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77089" y="5104271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77090" y="5414261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953363" y="4520537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тыс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лей 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929397" y="5032161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2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сяцев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929398" y="5352705"/>
            <a:ext cx="4355663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en-US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8,7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годовых (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/2 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лючевой ставки 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ЦБ +  5 </a:t>
            </a:r>
            <a:r>
              <a:rPr lang="ru-RU" sz="1200" b="1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.п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.)  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201054" y="4541400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45467" y="1965295"/>
            <a:ext cx="4962161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пополнени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оротных 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инвестиций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6106488" y="977760"/>
            <a:ext cx="3837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Базовый продукт «Экспресс поддержка»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173907" y="6028246"/>
            <a:ext cx="6217928" cy="1092518"/>
          </a:xfrm>
          <a:prstGeom prst="rect">
            <a:avLst/>
          </a:prstGeom>
        </p:spPr>
        <p:txBody>
          <a:bodyPr wrap="square" lIns="91349" tIns="45676" rIns="91349" bIns="45676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счетный счет для оформления кредита может быть открыт в любом банке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Цифровая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ступность из любой точки России через АИС НГС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АО «Корпорация» «МСП»  в размере 50% от суммы кредита для Заемщиков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93728" y="2725355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</a:t>
            </a: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62276" y="1634166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323961" y="1268258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664886" y="1070951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граммы Правительства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дмуртии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97628" y="4827272"/>
            <a:ext cx="5343525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 smtClean="0"/>
              <a:t>(</a:t>
            </a:r>
            <a:r>
              <a:rPr lang="ru-RU" sz="1200" b="1" dirty="0" smtClean="0"/>
              <a:t>до </a:t>
            </a:r>
            <a:r>
              <a:rPr lang="ru-RU" sz="1200" b="1" dirty="0"/>
              <a:t>5 млн. </a:t>
            </a:r>
            <a:r>
              <a:rPr lang="ru-RU" sz="1200" b="1" dirty="0" smtClean="0"/>
              <a:t>рублей </a:t>
            </a:r>
            <a:r>
              <a:rPr lang="ru-RU" sz="1200" dirty="0"/>
              <a:t>- на развитие предпринимательской </a:t>
            </a:r>
            <a:r>
              <a:rPr lang="ru-RU" sz="1200" dirty="0" smtClean="0"/>
              <a:t>деятельности)</a:t>
            </a:r>
            <a:endParaRPr lang="ru-RU" sz="1200" dirty="0"/>
          </a:p>
        </p:txBody>
      </p:sp>
      <p:sp>
        <p:nvSpPr>
          <p:cNvPr id="53" name="TextBox 52"/>
          <p:cNvSpPr txBox="1"/>
          <p:nvPr/>
        </p:nvSpPr>
        <p:spPr>
          <a:xfrm>
            <a:off x="5559357" y="2967945"/>
            <a:ext cx="4987999" cy="13157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 </a:t>
            </a:r>
            <a:endParaRPr lang="ru-RU" sz="1200" dirty="0" smtClean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омпани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арегистрирована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территори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Удмурти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Компания является экспортером /Вид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и относится к приоритетным в рамках соглашения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гистрации Заемщика на дату подачи заявки не менее 12 месяцев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5780022" y="4930717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5753624" y="5521982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529897" y="4479845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тыс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0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лей 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532330" y="4868120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сяцев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5777588" y="4500708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585195" y="1977766"/>
            <a:ext cx="4962161" cy="946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пополнени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оротных 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нвестиций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звитие предпринимательской деятельност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5585195" y="2723622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</a:t>
            </a: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получателю поддержки: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5705802" y="1730718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5681695" y="1392628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6553832" y="5204636"/>
            <a:ext cx="3904198" cy="138499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pPr lvl="0"/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4,5% годовых -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инвестиционные цели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7% годовых -  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на оборотные цели</a:t>
            </a:r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</a:p>
          <a:p>
            <a:pPr lvl="0"/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8/7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- 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развитие 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предпринимательской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и </a:t>
            </a:r>
          </a:p>
          <a:p>
            <a:pPr lvl="0"/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малых/средних предприятий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</a:p>
          <a:p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124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базовых кредитных продуктов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44842" y="1649763"/>
            <a:ext cx="527122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оборотных 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текущей деятельности (включая выплату заработной платы и прочие платежи, за исключением уплаты налогов и сборов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участия в тендере (конкурсе)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97243" y="1053453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оротное кредитование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14493" y="1350085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14493" y="3076776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14494" y="338676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272306" y="1656990"/>
            <a:ext cx="5264028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инвестиций</a:t>
            </a:r>
          </a:p>
          <a:p>
            <a:pPr marL="361950" indent="-180975">
              <a:spcAft>
                <a:spcPts val="300"/>
              </a:spcAft>
              <a:buClr>
                <a:srgbClr val="F93458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приобретения, реконструкции, модернизации, ремонта основных средств</a:t>
            </a:r>
          </a:p>
          <a:p>
            <a:pPr marL="361950" indent="-180975">
              <a:spcAft>
                <a:spcPts val="300"/>
              </a:spcAft>
              <a:buClr>
                <a:srgbClr val="F93458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строительства зданий и сооружений производственного назначения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5453282" y="1053453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иционное кредитование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066801" y="2717279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066801" y="3004667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066801" y="3325210"/>
            <a:ext cx="236455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</a:t>
            </a:r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452909" y="2778835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452909" y="3076776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452910" y="338676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205216" y="2717279"/>
            <a:ext cx="327511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500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рублей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6205217" y="3004667"/>
            <a:ext cx="185246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2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6205218" y="3325210"/>
            <a:ext cx="4331116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>
            <a:off x="1" y="3806684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144843" y="4547659"/>
            <a:ext cx="4951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финансирование расходов, связанных с исполнением контракта в рамках федеральных законов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№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23-ФЗ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и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№44-ФЗ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97243" y="3905137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актное кредитование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314493" y="5191984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14493" y="5489924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314494" y="5799915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066801" y="5130427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066801" y="5417815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066803" y="5738358"/>
            <a:ext cx="2364554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467684" y="1350085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14492" y="2778835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314493" y="4273726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32089" y="7254453"/>
            <a:ext cx="18694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en-US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ри наличии субсидирования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272306" y="4547659"/>
            <a:ext cx="52640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финансирование кредитов  (займов), выданных другими кредитными организациями на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орот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и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нвестицион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цели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5453282" y="3905137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финансирование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452909" y="5191984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452909" y="5882022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452910" y="6462328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6205217" y="5149479"/>
            <a:ext cx="4486597" cy="769441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оборотные цел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</a:t>
            </a:r>
            <a:r>
              <a:rPr lang="en-US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рублей</a:t>
            </a:r>
          </a:p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инвестицион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цели 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</a:t>
            </a:r>
            <a:r>
              <a:rPr lang="en-US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рублей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6205217" y="5832228"/>
            <a:ext cx="4331118" cy="58477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оборотные цел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инвестицион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84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5467684" y="4273726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205218" y="6431548"/>
            <a:ext cx="241882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0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</p:spTree>
    <p:extLst>
      <p:ext uri="{BB962C8B-B14F-4D97-AF65-F5344CB8AC3E}">
        <p14:creationId xmlns:p14="http://schemas.microsoft.com/office/powerpoint/2010/main" val="676963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базовых кредитных продуктов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62277" y="1081362"/>
            <a:ext cx="48337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кспресс-поддержка (экспресс-оборотный, экспресс-</a:t>
            </a:r>
            <a:r>
              <a:rPr lang="ru-RU" sz="1400" b="1" dirty="0" err="1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75200" y="3093776"/>
            <a:ext cx="6079228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 – юридическое лицо (распространяется только на юридические лица с организационно правовой формой – ООО (за исключением ООО, участником/учредителем которого с долей участия 25% и более в уставном капитале Субъекта МСП является юридическое лицо, одновременно являющееся акционерным обществом)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ход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текущей деятельности заемщика покрывает расходы на обслуживание и погашение кредита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 Заемщика на дату подачи заявки не менее 12 месяцев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62276" y="1598300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89147" y="5171347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89148" y="5481337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241455" y="4811850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тыс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241455" y="5099237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241456" y="5419781"/>
            <a:ext cx="342915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</a:t>
            </a:r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,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**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489146" y="4832713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45467" y="2138372"/>
            <a:ext cx="4962161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оротных 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инвестиций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6106488" y="977760"/>
            <a:ext cx="3837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Базовый продукт «Экспресс поддержка»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299563" y="5766444"/>
            <a:ext cx="5319161" cy="1538794"/>
          </a:xfrm>
          <a:prstGeom prst="rect">
            <a:avLst/>
          </a:prstGeom>
        </p:spPr>
        <p:txBody>
          <a:bodyPr wrap="square" lIns="91349" tIns="45676" rIns="91349" bIns="45676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счетный счет для оформления кредита может быть открыт в любом банке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гашение кредита – ежемесячные 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аннуитет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латежи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–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язательно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Цифровая доступность из любой точки России через АИС НГС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АО «Корпорация» «МСП»  в размере 50% от суммы кредита для Заемщиков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75199" y="2836704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</a:t>
            </a: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62277" y="1867104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*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6167307" y="2138372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167549" y="2259519"/>
            <a:ext cx="49621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деятельности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292714" y="1180807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ная поддержка самозанятых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302032" y="2728983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302032" y="3005982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320916" y="3267487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100458" y="2667427"/>
            <a:ext cx="38671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тыс.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100460" y="2943262"/>
            <a:ext cx="40292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включительно)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073225" y="3236707"/>
            <a:ext cx="386714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от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1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,0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0**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320916" y="1489027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320916" y="3640803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финансирование кредитов самозанятых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354428" y="3926881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188062" y="4203880"/>
            <a:ext cx="43102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финансирование кредитов самозанятых, направленных на развитие предпринимательской деятельности, на сумму не более суммы рефинансируемого кредита/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в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(займа/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в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 по данным БКИ.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383492" y="5406589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383491" y="5751156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383493" y="6177877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135799" y="5345033"/>
            <a:ext cx="38671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1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млн рублей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135800" y="5736196"/>
            <a:ext cx="40292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месяце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(включительно)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135801" y="6147097"/>
            <a:ext cx="386714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от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1</a:t>
            </a:r>
            <a:r>
              <a:rPr lang="en-US" sz="1600" b="1" smtClean="0">
                <a:latin typeface="Century Gothic" panose="020B0502020202020204" pitchFamily="34" charset="0"/>
                <a:cs typeface="Helvetica" panose="020B0604020202020204" pitchFamily="34" charset="0"/>
              </a:rPr>
              <a:t>,0</a:t>
            </a:r>
            <a:r>
              <a:rPr lang="ru-RU" sz="1600" b="1" smtClean="0"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**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годовых 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345468" y="7305238"/>
            <a:ext cx="16658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 В зависимости от продукта</a:t>
            </a:r>
            <a:endParaRPr lang="ru-RU" sz="8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348151" y="1860583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2452913" y="7312438"/>
            <a:ext cx="18694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en-US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ри наличии субсидирования </a:t>
            </a:r>
          </a:p>
        </p:txBody>
      </p:sp>
    </p:spTree>
    <p:extLst>
      <p:ext uri="{BB962C8B-B14F-4D97-AF65-F5344CB8AC3E}">
        <p14:creationId xmlns:p14="http://schemas.microsoft.com/office/powerpoint/2010/main" val="272948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Тема1" id="{A568FDB8-086E-4AFE-83B3-F4E1050BFE15}" vid="{033AE83B-7C0A-43F7-B437-6EC35A0AD09A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Тема1" id="{A568FDB8-086E-4AFE-83B3-F4E1050BFE15}" vid="{033AE83B-7C0A-43F7-B437-6EC35A0AD09A}"/>
    </a:ext>
  </a:extLst>
</a:theme>
</file>

<file path=ppt/theme/theme3.xml><?xml version="1.0" encoding="utf-8"?>
<a:theme xmlns:a="http://schemas.openxmlformats.org/drawingml/2006/main" name="2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Тема1" id="{A568FDB8-086E-4AFE-83B3-F4E1050BFE15}" vid="{033AE83B-7C0A-43F7-B437-6EC35A0AD09A}"/>
    </a:ext>
  </a:extLst>
</a:theme>
</file>

<file path=ppt/theme/theme4.xml><?xml version="1.0" encoding="utf-8"?>
<a:theme xmlns:a="http://schemas.openxmlformats.org/drawingml/2006/main" name="3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Тема1" id="{A568FDB8-086E-4AFE-83B3-F4E1050BFE15}" vid="{033AE83B-7C0A-43F7-B437-6EC35A0AD09A}"/>
    </a:ext>
  </a:extLst>
</a:theme>
</file>

<file path=ppt/theme/theme5.xml><?xml version="1.0" encoding="utf-8"?>
<a:theme xmlns:a="http://schemas.openxmlformats.org/drawingml/2006/main" name="4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Тема1" id="{A568FDB8-086E-4AFE-83B3-F4E1050BFE15}" vid="{033AE83B-7C0A-43F7-B437-6EC35A0AD09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61</TotalTime>
  <Words>2092</Words>
  <Application>Microsoft Office PowerPoint</Application>
  <PresentationFormat>Произвольный</PresentationFormat>
  <Paragraphs>347</Paragraphs>
  <Slides>1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1" baseType="lpstr">
      <vt:lpstr>Тема1</vt:lpstr>
      <vt:lpstr>1_Тема1</vt:lpstr>
      <vt:lpstr>2_Тема1</vt:lpstr>
      <vt:lpstr>3_Тема1</vt:lpstr>
      <vt:lpstr>4_Тема1</vt:lpstr>
      <vt:lpstr>Тема Office</vt:lpstr>
      <vt:lpstr>1_Тема Office</vt:lpstr>
      <vt:lpstr>2_Тема Office</vt:lpstr>
      <vt:lpstr>Слайд think-cell</vt:lpstr>
      <vt:lpstr>Инструменты финансовой поддержки субъектов МСП  АО «МСП Банк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Базилюк Тарас Александрович</cp:lastModifiedBy>
  <cp:revision>399</cp:revision>
  <cp:lastPrinted>2021-06-11T12:36:52Z</cp:lastPrinted>
  <dcterms:created xsi:type="dcterms:W3CDTF">2021-02-03T17:39:42Z</dcterms:created>
  <dcterms:modified xsi:type="dcterms:W3CDTF">2022-10-18T08:27:46Z</dcterms:modified>
</cp:coreProperties>
</file>